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</p:sldMasterIdLst>
  <p:notesMasterIdLst>
    <p:notesMasterId r:id="rId39"/>
  </p:notesMasterIdLst>
  <p:sldIdLst>
    <p:sldId id="541" r:id="rId5"/>
    <p:sldId id="606" r:id="rId6"/>
    <p:sldId id="527" r:id="rId7"/>
    <p:sldId id="627" r:id="rId8"/>
    <p:sldId id="625" r:id="rId9"/>
    <p:sldId id="624" r:id="rId10"/>
    <p:sldId id="628" r:id="rId11"/>
    <p:sldId id="652" r:id="rId12"/>
    <p:sldId id="626" r:id="rId13"/>
    <p:sldId id="591" r:id="rId14"/>
    <p:sldId id="623" r:id="rId15"/>
    <p:sldId id="635" r:id="rId16"/>
    <p:sldId id="636" r:id="rId17"/>
    <p:sldId id="654" r:id="rId18"/>
    <p:sldId id="616" r:id="rId19"/>
    <p:sldId id="630" r:id="rId20"/>
    <p:sldId id="643" r:id="rId21"/>
    <p:sldId id="631" r:id="rId22"/>
    <p:sldId id="629" r:id="rId23"/>
    <p:sldId id="648" r:id="rId24"/>
    <p:sldId id="611" r:id="rId25"/>
    <p:sldId id="632" r:id="rId26"/>
    <p:sldId id="634" r:id="rId27"/>
    <p:sldId id="638" r:id="rId28"/>
    <p:sldId id="639" r:id="rId29"/>
    <p:sldId id="633" r:id="rId30"/>
    <p:sldId id="642" r:id="rId31"/>
    <p:sldId id="650" r:id="rId32"/>
    <p:sldId id="640" r:id="rId33"/>
    <p:sldId id="637" r:id="rId34"/>
    <p:sldId id="653" r:id="rId35"/>
    <p:sldId id="620" r:id="rId36"/>
    <p:sldId id="644" r:id="rId37"/>
    <p:sldId id="647" r:id="rId38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ália" initials="N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A6A6A6"/>
    <a:srgbClr val="B2B2B2"/>
    <a:srgbClr val="747474"/>
    <a:srgbClr val="EAEAEA"/>
    <a:srgbClr val="FFFEFE"/>
    <a:srgbClr val="FEFEFE"/>
    <a:srgbClr val="FEFEFF"/>
    <a:srgbClr val="FEFF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5D4E9B-42ED-4404-A832-5E3E3BBCF728}" v="8" dt="2023-02-07T14:38:57.768"/>
    <p1510:client id="{8CEEDD38-B36F-41EB-AE0E-63F374EF4B27}" v="2" dt="2023-02-07T14:30:47.667"/>
    <p1510:client id="{D31F0E1E-ED03-445D-BF8B-6A84CB7F0947}" v="48" dt="2023-02-07T14:47:17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řední styl 4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1524" y="114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6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in Šandorová" userId="S::karin.sandorova@amic.sk::6237acbc-0591-438a-87eb-2cd7f5b87a1e" providerId="AD" clId="Web-{9B8D363D-3D4F-4C5B-942A-4F0ED6FB5405}"/>
    <pc:docChg chg="modSld">
      <pc:chgData name="Karin Šandorová" userId="S::karin.sandorova@amic.sk::6237acbc-0591-438a-87eb-2cd7f5b87a1e" providerId="AD" clId="Web-{9B8D363D-3D4F-4C5B-942A-4F0ED6FB5405}" dt="2023-01-13T23:32:22.712" v="1"/>
      <pc:docMkLst>
        <pc:docMk/>
      </pc:docMkLst>
      <pc:sldChg chg="addSp delSp modSp">
        <pc:chgData name="Karin Šandorová" userId="S::karin.sandorova@amic.sk::6237acbc-0591-438a-87eb-2cd7f5b87a1e" providerId="AD" clId="Web-{9B8D363D-3D4F-4C5B-942A-4F0ED6FB5405}" dt="2023-01-13T23:32:22.712" v="1"/>
        <pc:sldMkLst>
          <pc:docMk/>
          <pc:sldMk cId="3962740672" sldId="650"/>
        </pc:sldMkLst>
        <pc:picChg chg="add del mod">
          <ac:chgData name="Karin Šandorová" userId="S::karin.sandorova@amic.sk::6237acbc-0591-438a-87eb-2cd7f5b87a1e" providerId="AD" clId="Web-{9B8D363D-3D4F-4C5B-942A-4F0ED6FB5405}" dt="2023-01-13T23:32:22.712" v="1"/>
          <ac:picMkLst>
            <pc:docMk/>
            <pc:sldMk cId="3962740672" sldId="650"/>
            <ac:picMk id="2" creationId="{130EB1A9-AF81-0BAB-B971-1F3105650094}"/>
          </ac:picMkLst>
        </pc:picChg>
      </pc:sldChg>
    </pc:docChg>
  </pc:docChgLst>
  <pc:docChgLst>
    <pc:chgData name="Karin Šandorová" userId="S::karin.sandorova@amic.sk::6237acbc-0591-438a-87eb-2cd7f5b87a1e" providerId="AD" clId="Web-{D31F0E1E-ED03-445D-BF8B-6A84CB7F0947}"/>
    <pc:docChg chg="modSld">
      <pc:chgData name="Karin Šandorová" userId="S::karin.sandorova@amic.sk::6237acbc-0591-438a-87eb-2cd7f5b87a1e" providerId="AD" clId="Web-{D31F0E1E-ED03-445D-BF8B-6A84CB7F0947}" dt="2023-02-07T14:47:17.242" v="44" actId="1076"/>
      <pc:docMkLst>
        <pc:docMk/>
      </pc:docMkLst>
      <pc:sldChg chg="addSp delSp modSp">
        <pc:chgData name="Karin Šandorová" userId="S::karin.sandorova@amic.sk::6237acbc-0591-438a-87eb-2cd7f5b87a1e" providerId="AD" clId="Web-{D31F0E1E-ED03-445D-BF8B-6A84CB7F0947}" dt="2023-02-07T14:47:17.242" v="44" actId="1076"/>
        <pc:sldMkLst>
          <pc:docMk/>
          <pc:sldMk cId="3940753924" sldId="652"/>
        </pc:sldMkLst>
        <pc:spChg chg="mod">
          <ac:chgData name="Karin Šandorová" userId="S::karin.sandorova@amic.sk::6237acbc-0591-438a-87eb-2cd7f5b87a1e" providerId="AD" clId="Web-{D31F0E1E-ED03-445D-BF8B-6A84CB7F0947}" dt="2023-02-07T14:44:03.362" v="25" actId="20577"/>
          <ac:spMkLst>
            <pc:docMk/>
            <pc:sldMk cId="3940753924" sldId="652"/>
            <ac:spMk id="7" creationId="{00000000-0000-0000-0000-000000000000}"/>
          </ac:spMkLst>
        </pc:spChg>
        <pc:picChg chg="add del mod">
          <ac:chgData name="Karin Šandorová" userId="S::karin.sandorova@amic.sk::6237acbc-0591-438a-87eb-2cd7f5b87a1e" providerId="AD" clId="Web-{D31F0E1E-ED03-445D-BF8B-6A84CB7F0947}" dt="2023-02-07T14:45:15.832" v="39"/>
          <ac:picMkLst>
            <pc:docMk/>
            <pc:sldMk cId="3940753924" sldId="652"/>
            <ac:picMk id="2" creationId="{871103AF-ECAB-492D-A2EF-391DE216D510}"/>
          </ac:picMkLst>
        </pc:picChg>
        <pc:picChg chg="add del mod">
          <ac:chgData name="Karin Šandorová" userId="S::karin.sandorova@amic.sk::6237acbc-0591-438a-87eb-2cd7f5b87a1e" providerId="AD" clId="Web-{D31F0E1E-ED03-445D-BF8B-6A84CB7F0947}" dt="2023-02-07T14:46:59.288" v="41"/>
          <ac:picMkLst>
            <pc:docMk/>
            <pc:sldMk cId="3940753924" sldId="652"/>
            <ac:picMk id="8" creationId="{806DECF6-5B2D-71CD-B90A-A641ACBC4989}"/>
          </ac:picMkLst>
        </pc:picChg>
        <pc:picChg chg="del">
          <ac:chgData name="Karin Šandorová" userId="S::karin.sandorova@amic.sk::6237acbc-0591-438a-87eb-2cd7f5b87a1e" providerId="AD" clId="Web-{D31F0E1E-ED03-445D-BF8B-6A84CB7F0947}" dt="2023-02-07T14:40:20.590" v="0"/>
          <ac:picMkLst>
            <pc:docMk/>
            <pc:sldMk cId="3940753924" sldId="652"/>
            <ac:picMk id="9" creationId="{49D8BC09-B8F8-0961-52C0-40A6F0E2686F}"/>
          </ac:picMkLst>
        </pc:picChg>
        <pc:picChg chg="add del mod">
          <ac:chgData name="Karin Šandorová" userId="S::karin.sandorova@amic.sk::6237acbc-0591-438a-87eb-2cd7f5b87a1e" providerId="AD" clId="Web-{D31F0E1E-ED03-445D-BF8B-6A84CB7F0947}" dt="2023-02-07T14:43:29.705" v="18"/>
          <ac:picMkLst>
            <pc:docMk/>
            <pc:sldMk cId="3940753924" sldId="652"/>
            <ac:picMk id="10" creationId="{0A93EE56-14D4-9E0F-B2A8-92BAF5EDBCDD}"/>
          </ac:picMkLst>
        </pc:picChg>
        <pc:picChg chg="add del mod">
          <ac:chgData name="Karin Šandorová" userId="S::karin.sandorova@amic.sk::6237acbc-0591-438a-87eb-2cd7f5b87a1e" providerId="AD" clId="Web-{D31F0E1E-ED03-445D-BF8B-6A84CB7F0947}" dt="2023-02-07T14:43:29.580" v="16"/>
          <ac:picMkLst>
            <pc:docMk/>
            <pc:sldMk cId="3940753924" sldId="652"/>
            <ac:picMk id="11" creationId="{DEA729F2-FB4C-8DD0-348D-3F91C5C9497D}"/>
          </ac:picMkLst>
        </pc:picChg>
        <pc:picChg chg="add del mod">
          <ac:chgData name="Karin Šandorová" userId="S::karin.sandorova@amic.sk::6237acbc-0591-438a-87eb-2cd7f5b87a1e" providerId="AD" clId="Web-{D31F0E1E-ED03-445D-BF8B-6A84CB7F0947}" dt="2023-02-07T14:43:29.501" v="14"/>
          <ac:picMkLst>
            <pc:docMk/>
            <pc:sldMk cId="3940753924" sldId="652"/>
            <ac:picMk id="13" creationId="{99E4633F-DBE1-A1CF-E612-75147B80A16A}"/>
          </ac:picMkLst>
        </pc:picChg>
        <pc:picChg chg="add del mod">
          <ac:chgData name="Karin Šandorová" userId="S::karin.sandorova@amic.sk::6237acbc-0591-438a-87eb-2cd7f5b87a1e" providerId="AD" clId="Web-{D31F0E1E-ED03-445D-BF8B-6A84CB7F0947}" dt="2023-02-07T14:43:29.470" v="13"/>
          <ac:picMkLst>
            <pc:docMk/>
            <pc:sldMk cId="3940753924" sldId="652"/>
            <ac:picMk id="14" creationId="{F72A4CA6-58AA-2613-2CDC-3FFE067F8AA8}"/>
          </ac:picMkLst>
        </pc:picChg>
        <pc:picChg chg="add mod">
          <ac:chgData name="Karin Šandorová" userId="S::karin.sandorova@amic.sk::6237acbc-0591-438a-87eb-2cd7f5b87a1e" providerId="AD" clId="Web-{D31F0E1E-ED03-445D-BF8B-6A84CB7F0947}" dt="2023-02-07T14:47:17.242" v="44" actId="1076"/>
          <ac:picMkLst>
            <pc:docMk/>
            <pc:sldMk cId="3940753924" sldId="652"/>
            <ac:picMk id="15" creationId="{94CDD685-EAA0-CDDA-1B3F-E06CB54565DE}"/>
          </ac:picMkLst>
        </pc:picChg>
      </pc:sldChg>
    </pc:docChg>
  </pc:docChgLst>
  <pc:docChgLst>
    <pc:chgData name="Karin Šandorová" userId="6237acbc-0591-438a-87eb-2cd7f5b87a1e" providerId="ADAL" clId="{DAF4A95A-53CD-49C4-AA18-A0E36D9C4941}"/>
    <pc:docChg chg="undo custSel addSld delSld modSld sldOrd">
      <pc:chgData name="Karin Šandorová" userId="6237acbc-0591-438a-87eb-2cd7f5b87a1e" providerId="ADAL" clId="{DAF4A95A-53CD-49C4-AA18-A0E36D9C4941}" dt="2023-02-07T14:29:40.304" v="168" actId="20577"/>
      <pc:docMkLst>
        <pc:docMk/>
      </pc:docMkLst>
      <pc:sldChg chg="ord">
        <pc:chgData name="Karin Šandorová" userId="6237acbc-0591-438a-87eb-2cd7f5b87a1e" providerId="ADAL" clId="{DAF4A95A-53CD-49C4-AA18-A0E36D9C4941}" dt="2023-02-07T14:12:36.860" v="0" actId="20578"/>
        <pc:sldMkLst>
          <pc:docMk/>
          <pc:sldMk cId="1712903804" sldId="627"/>
        </pc:sldMkLst>
      </pc:sldChg>
      <pc:sldChg chg="addSp delSp mod">
        <pc:chgData name="Karin Šandorová" userId="6237acbc-0591-438a-87eb-2cd7f5b87a1e" providerId="ADAL" clId="{DAF4A95A-53CD-49C4-AA18-A0E36D9C4941}" dt="2023-02-07T14:29:21.345" v="162" actId="478"/>
        <pc:sldMkLst>
          <pc:docMk/>
          <pc:sldMk cId="2174803741" sldId="628"/>
        </pc:sldMkLst>
        <pc:picChg chg="add del">
          <ac:chgData name="Karin Šandorová" userId="6237acbc-0591-438a-87eb-2cd7f5b87a1e" providerId="ADAL" clId="{DAF4A95A-53CD-49C4-AA18-A0E36D9C4941}" dt="2023-02-07T14:29:21.345" v="162" actId="478"/>
          <ac:picMkLst>
            <pc:docMk/>
            <pc:sldMk cId="2174803741" sldId="628"/>
            <ac:picMk id="9" creationId="{49D8BC09-B8F8-0961-52C0-40A6F0E2686F}"/>
          </ac:picMkLst>
        </pc:picChg>
      </pc:sldChg>
      <pc:sldChg chg="modSp mod">
        <pc:chgData name="Karin Šandorová" userId="6237acbc-0591-438a-87eb-2cd7f5b87a1e" providerId="ADAL" clId="{DAF4A95A-53CD-49C4-AA18-A0E36D9C4941}" dt="2023-02-07T14:29:40.304" v="168" actId="20577"/>
        <pc:sldMkLst>
          <pc:docMk/>
          <pc:sldMk cId="3216791841" sldId="647"/>
        </pc:sldMkLst>
        <pc:spChg chg="mod">
          <ac:chgData name="Karin Šandorová" userId="6237acbc-0591-438a-87eb-2cd7f5b87a1e" providerId="ADAL" clId="{DAF4A95A-53CD-49C4-AA18-A0E36D9C4941}" dt="2023-02-07T14:29:40.304" v="168" actId="20577"/>
          <ac:spMkLst>
            <pc:docMk/>
            <pc:sldMk cId="3216791841" sldId="647"/>
            <ac:spMk id="12" creationId="{447996C4-D521-B6FB-D309-00ED4FBFE470}"/>
          </ac:spMkLst>
        </pc:spChg>
        <pc:spChg chg="mod">
          <ac:chgData name="Karin Šandorová" userId="6237acbc-0591-438a-87eb-2cd7f5b87a1e" providerId="ADAL" clId="{DAF4A95A-53CD-49C4-AA18-A0E36D9C4941}" dt="2023-02-07T14:20:04.193" v="75" actId="20577"/>
          <ac:spMkLst>
            <pc:docMk/>
            <pc:sldMk cId="3216791841" sldId="647"/>
            <ac:spMk id="19" creationId="{6273576D-ED91-CA78-C9D2-F38D8FCEF0EB}"/>
          </ac:spMkLst>
        </pc:spChg>
        <pc:spChg chg="mod">
          <ac:chgData name="Karin Šandorová" userId="6237acbc-0591-438a-87eb-2cd7f5b87a1e" providerId="ADAL" clId="{DAF4A95A-53CD-49C4-AA18-A0E36D9C4941}" dt="2023-02-07T14:28:08.157" v="159" actId="20577"/>
          <ac:spMkLst>
            <pc:docMk/>
            <pc:sldMk cId="3216791841" sldId="647"/>
            <ac:spMk id="48" creationId="{60C23BC5-4E2D-17B7-0FEB-F4DE79B7ECC4}"/>
          </ac:spMkLst>
        </pc:spChg>
        <pc:spChg chg="mod">
          <ac:chgData name="Karin Šandorová" userId="6237acbc-0591-438a-87eb-2cd7f5b87a1e" providerId="ADAL" clId="{DAF4A95A-53CD-49C4-AA18-A0E36D9C4941}" dt="2023-02-07T14:25:47.358" v="88" actId="20577"/>
          <ac:spMkLst>
            <pc:docMk/>
            <pc:sldMk cId="3216791841" sldId="647"/>
            <ac:spMk id="50" creationId="{85DCD3F2-F509-BC6B-A5D3-792A5A48F610}"/>
          </ac:spMkLst>
        </pc:spChg>
        <pc:spChg chg="mod">
          <ac:chgData name="Karin Šandorová" userId="6237acbc-0591-438a-87eb-2cd7f5b87a1e" providerId="ADAL" clId="{DAF4A95A-53CD-49C4-AA18-A0E36D9C4941}" dt="2023-02-07T14:28:13.382" v="160" actId="20577"/>
          <ac:spMkLst>
            <pc:docMk/>
            <pc:sldMk cId="3216791841" sldId="647"/>
            <ac:spMk id="53" creationId="{44BE7DE2-D8F0-6355-B469-505B0B76A131}"/>
          </ac:spMkLst>
        </pc:spChg>
      </pc:sldChg>
      <pc:sldChg chg="new del">
        <pc:chgData name="Karin Šandorová" userId="6237acbc-0591-438a-87eb-2cd7f5b87a1e" providerId="ADAL" clId="{DAF4A95A-53CD-49C4-AA18-A0E36D9C4941}" dt="2023-02-07T14:12:44.427" v="3" actId="47"/>
        <pc:sldMkLst>
          <pc:docMk/>
          <pc:sldMk cId="821325219" sldId="651"/>
        </pc:sldMkLst>
      </pc:sldChg>
      <pc:sldChg chg="modSp add mod">
        <pc:chgData name="Karin Šandorová" userId="6237acbc-0591-438a-87eb-2cd7f5b87a1e" providerId="ADAL" clId="{DAF4A95A-53CD-49C4-AA18-A0E36D9C4941}" dt="2023-02-07T14:13:56.907" v="21" actId="20577"/>
        <pc:sldMkLst>
          <pc:docMk/>
          <pc:sldMk cId="3940753924" sldId="652"/>
        </pc:sldMkLst>
        <pc:spChg chg="mod">
          <ac:chgData name="Karin Šandorová" userId="6237acbc-0591-438a-87eb-2cd7f5b87a1e" providerId="ADAL" clId="{DAF4A95A-53CD-49C4-AA18-A0E36D9C4941}" dt="2023-02-07T14:13:56.907" v="21" actId="20577"/>
          <ac:spMkLst>
            <pc:docMk/>
            <pc:sldMk cId="3940753924" sldId="652"/>
            <ac:spMk id="7" creationId="{00000000-0000-0000-0000-000000000000}"/>
          </ac:spMkLst>
        </pc:spChg>
      </pc:sldChg>
      <pc:sldChg chg="addSp delSp modSp add mod">
        <pc:chgData name="Karin Šandorová" userId="6237acbc-0591-438a-87eb-2cd7f5b87a1e" providerId="ADAL" clId="{DAF4A95A-53CD-49C4-AA18-A0E36D9C4941}" dt="2023-02-07T14:18:02.489" v="71"/>
        <pc:sldMkLst>
          <pc:docMk/>
          <pc:sldMk cId="2483929934" sldId="653"/>
        </pc:sldMkLst>
        <pc:spChg chg="mod">
          <ac:chgData name="Karin Šandorová" userId="6237acbc-0591-438a-87eb-2cd7f5b87a1e" providerId="ADAL" clId="{DAF4A95A-53CD-49C4-AA18-A0E36D9C4941}" dt="2023-02-07T14:18:02.489" v="71"/>
          <ac:spMkLst>
            <pc:docMk/>
            <pc:sldMk cId="2483929934" sldId="653"/>
            <ac:spMk id="7" creationId="{00000000-0000-0000-0000-000000000000}"/>
          </ac:spMkLst>
        </pc:spChg>
        <pc:picChg chg="add mod modCrop">
          <ac:chgData name="Karin Šandorová" userId="6237acbc-0591-438a-87eb-2cd7f5b87a1e" providerId="ADAL" clId="{DAF4A95A-53CD-49C4-AA18-A0E36D9C4941}" dt="2023-02-07T14:16:21.124" v="55" actId="1076"/>
          <ac:picMkLst>
            <pc:docMk/>
            <pc:sldMk cId="2483929934" sldId="653"/>
            <ac:picMk id="8" creationId="{4371E4E4-D03F-C2F6-6793-632ADAD7C63C}"/>
          </ac:picMkLst>
        </pc:picChg>
        <pc:picChg chg="del">
          <ac:chgData name="Karin Šandorová" userId="6237acbc-0591-438a-87eb-2cd7f5b87a1e" providerId="ADAL" clId="{DAF4A95A-53CD-49C4-AA18-A0E36D9C4941}" dt="2023-02-07T14:16:04.332" v="47" actId="478"/>
          <ac:picMkLst>
            <pc:docMk/>
            <pc:sldMk cId="2483929934" sldId="653"/>
            <ac:picMk id="8194" creationId="{B3D22404-3894-99A7-FF65-D6A766E5BAD6}"/>
          </ac:picMkLst>
        </pc:picChg>
      </pc:sldChg>
      <pc:sldChg chg="addSp delSp modSp add mod">
        <pc:chgData name="Karin Šandorová" userId="6237acbc-0591-438a-87eb-2cd7f5b87a1e" providerId="ADAL" clId="{DAF4A95A-53CD-49C4-AA18-A0E36D9C4941}" dt="2023-02-07T14:29:32.221" v="166" actId="1076"/>
        <pc:sldMkLst>
          <pc:docMk/>
          <pc:sldMk cId="4078394346" sldId="654"/>
        </pc:sldMkLst>
        <pc:spChg chg="mod">
          <ac:chgData name="Karin Šandorová" userId="6237acbc-0591-438a-87eb-2cd7f5b87a1e" providerId="ADAL" clId="{DAF4A95A-53CD-49C4-AA18-A0E36D9C4941}" dt="2023-02-07T14:27:49.476" v="150" actId="20577"/>
          <ac:spMkLst>
            <pc:docMk/>
            <pc:sldMk cId="4078394346" sldId="654"/>
            <ac:spMk id="7" creationId="{00000000-0000-0000-0000-000000000000}"/>
          </ac:spMkLst>
        </pc:spChg>
        <pc:graphicFrameChg chg="del">
          <ac:chgData name="Karin Šandorová" userId="6237acbc-0591-438a-87eb-2cd7f5b87a1e" providerId="ADAL" clId="{DAF4A95A-53CD-49C4-AA18-A0E36D9C4941}" dt="2023-02-07T14:29:27.121" v="163" actId="478"/>
          <ac:graphicFrameMkLst>
            <pc:docMk/>
            <pc:sldMk cId="4078394346" sldId="654"/>
            <ac:graphicFrameMk id="2" creationId="{4A25BBE6-5278-2B5C-C704-C2DA6B9D28D7}"/>
          </ac:graphicFrameMkLst>
        </pc:graphicFrameChg>
        <pc:picChg chg="add mod">
          <ac:chgData name="Karin Šandorová" userId="6237acbc-0591-438a-87eb-2cd7f5b87a1e" providerId="ADAL" clId="{DAF4A95A-53CD-49C4-AA18-A0E36D9C4941}" dt="2023-02-07T14:29:32.221" v="166" actId="1076"/>
          <ac:picMkLst>
            <pc:docMk/>
            <pc:sldMk cId="4078394346" sldId="654"/>
            <ac:picMk id="9" creationId="{896D9F47-46C8-CD44-68D3-47213B2019F8}"/>
          </ac:picMkLst>
        </pc:picChg>
      </pc:sldChg>
    </pc:docChg>
  </pc:docChgLst>
  <pc:docChgLst>
    <pc:chgData name="Karin Šandorová" userId="S::karin.sandorova@amic.sk::6237acbc-0591-438a-87eb-2cd7f5b87a1e" providerId="AD" clId="Web-{8CEEDD38-B36F-41EB-AE0E-63F374EF4B27}"/>
    <pc:docChg chg="modSld">
      <pc:chgData name="Karin Šandorová" userId="S::karin.sandorova@amic.sk::6237acbc-0591-438a-87eb-2cd7f5b87a1e" providerId="AD" clId="Web-{8CEEDD38-B36F-41EB-AE0E-63F374EF4B27}" dt="2023-02-07T14:30:47.667" v="0" actId="20577"/>
      <pc:docMkLst>
        <pc:docMk/>
      </pc:docMkLst>
      <pc:sldChg chg="modSp">
        <pc:chgData name="Karin Šandorová" userId="S::karin.sandorova@amic.sk::6237acbc-0591-438a-87eb-2cd7f5b87a1e" providerId="AD" clId="Web-{8CEEDD38-B36F-41EB-AE0E-63F374EF4B27}" dt="2023-02-07T14:30:47.667" v="0" actId="20577"/>
        <pc:sldMkLst>
          <pc:docMk/>
          <pc:sldMk cId="3216791841" sldId="647"/>
        </pc:sldMkLst>
        <pc:spChg chg="mod">
          <ac:chgData name="Karin Šandorová" userId="S::karin.sandorova@amic.sk::6237acbc-0591-438a-87eb-2cd7f5b87a1e" providerId="AD" clId="Web-{8CEEDD38-B36F-41EB-AE0E-63F374EF4B27}" dt="2023-02-07T14:30:47.667" v="0" actId="20577"/>
          <ac:spMkLst>
            <pc:docMk/>
            <pc:sldMk cId="3216791841" sldId="647"/>
            <ac:spMk id="12" creationId="{447996C4-D521-B6FB-D309-00ED4FBFE470}"/>
          </ac:spMkLst>
        </pc:spChg>
      </pc:sldChg>
    </pc:docChg>
  </pc:docChgLst>
  <pc:docChgLst>
    <pc:chgData name="Karin Šandorová" userId="S::karin.sandorova@amic.sk::6237acbc-0591-438a-87eb-2cd7f5b87a1e" providerId="AD" clId="Web-{405D4E9B-42ED-4404-A832-5E3E3BBCF728}"/>
    <pc:docChg chg="modSld">
      <pc:chgData name="Karin Šandorová" userId="S::karin.sandorova@amic.sk::6237acbc-0591-438a-87eb-2cd7f5b87a1e" providerId="AD" clId="Web-{405D4E9B-42ED-4404-A832-5E3E3BBCF728}" dt="2023-02-07T14:38:56.674" v="3" actId="20577"/>
      <pc:docMkLst>
        <pc:docMk/>
      </pc:docMkLst>
      <pc:sldChg chg="modSp">
        <pc:chgData name="Karin Šandorová" userId="S::karin.sandorova@amic.sk::6237acbc-0591-438a-87eb-2cd7f5b87a1e" providerId="AD" clId="Web-{405D4E9B-42ED-4404-A832-5E3E3BBCF728}" dt="2023-02-07T14:38:56.674" v="3" actId="20577"/>
        <pc:sldMkLst>
          <pc:docMk/>
          <pc:sldMk cId="3216791841" sldId="647"/>
        </pc:sldMkLst>
        <pc:spChg chg="mod">
          <ac:chgData name="Karin Šandorová" userId="S::karin.sandorova@amic.sk::6237acbc-0591-438a-87eb-2cd7f5b87a1e" providerId="AD" clId="Web-{405D4E9B-42ED-4404-A832-5E3E3BBCF728}" dt="2023-02-07T14:38:56.674" v="3" actId="20577"/>
          <ac:spMkLst>
            <pc:docMk/>
            <pc:sldMk cId="3216791841" sldId="647"/>
            <ac:spMk id="53" creationId="{44BE7DE2-D8F0-6355-B469-505B0B76A131}"/>
          </ac:spMkLst>
        </pc:spChg>
      </pc:sldChg>
      <pc:sldChg chg="modSp">
        <pc:chgData name="Karin Šandorová" userId="S::karin.sandorova@amic.sk::6237acbc-0591-438a-87eb-2cd7f5b87a1e" providerId="AD" clId="Web-{405D4E9B-42ED-4404-A832-5E3E3BBCF728}" dt="2023-02-07T14:38:48.971" v="2" actId="20577"/>
        <pc:sldMkLst>
          <pc:docMk/>
          <pc:sldMk cId="3940753924" sldId="652"/>
        </pc:sldMkLst>
        <pc:spChg chg="mod">
          <ac:chgData name="Karin Šandorová" userId="S::karin.sandorova@amic.sk::6237acbc-0591-438a-87eb-2cd7f5b87a1e" providerId="AD" clId="Web-{405D4E9B-42ED-4404-A832-5E3E3BBCF728}" dt="2023-02-07T14:38:48.971" v="2" actId="20577"/>
          <ac:spMkLst>
            <pc:docMk/>
            <pc:sldMk cId="3940753924" sldId="652"/>
            <ac:spMk id="7" creationId="{00000000-0000-0000-0000-000000000000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png"/><Relationship Id="rId1" Type="http://schemas.openxmlformats.org/officeDocument/2006/relationships/image" Target="../media/image7.png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3.jpeg"/><Relationship Id="rId2" Type="http://schemas.openxmlformats.org/officeDocument/2006/relationships/image" Target="../media/image11.jpeg"/><Relationship Id="rId1" Type="http://schemas.openxmlformats.org/officeDocument/2006/relationships/image" Target="../media/image12.jpeg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8520F18-CA2B-4F89-8DD3-5B547A126C0E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348A76D8-393A-4FE9-B940-225893CD343C}">
      <dgm:prSet phldrT="[Text]" custT="1"/>
      <dgm:spPr/>
      <dgm:t>
        <a:bodyPr/>
        <a:lstStyle/>
        <a:p>
          <a:r>
            <a:rPr lang="sk-SK" sz="1200" b="1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Continental:  generálny partner podujatia OSA Naprieč Slovenskom </a:t>
          </a:r>
        </a:p>
      </dgm:t>
    </dgm:pt>
    <dgm:pt modelId="{319080D5-EC0D-4C47-A409-976E3C1C4B77}" type="parTrans" cxnId="{DE2C25F5-36F8-451B-9B99-7E3D59F0A172}">
      <dgm:prSet/>
      <dgm:spPr/>
      <dgm:t>
        <a:bodyPr/>
        <a:lstStyle/>
        <a:p>
          <a:endParaRPr lang="cs-CZ"/>
        </a:p>
      </dgm:t>
    </dgm:pt>
    <dgm:pt modelId="{FDE4B32E-B4B6-46A9-9D80-EA114C464DF1}" type="sibTrans" cxnId="{DE2C25F5-36F8-451B-9B99-7E3D59F0A172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</dgm:spPr>
      <dgm:t>
        <a:bodyPr/>
        <a:lstStyle/>
        <a:p>
          <a:endParaRPr lang="cs-CZ"/>
        </a:p>
      </dgm:t>
    </dgm:pt>
    <dgm:pt modelId="{C287DE7C-7E09-400D-B416-0A3350DDF282}">
      <dgm:prSet phldrT="[Text]" custT="1"/>
      <dgm:spPr/>
      <dgm:t>
        <a:bodyPr/>
        <a:lstStyle/>
        <a:p>
          <a:r>
            <a:rPr lang="sk-SK" sz="1200" b="1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ktívna komunikácia s novinármi</a:t>
          </a:r>
        </a:p>
      </dgm:t>
    </dgm:pt>
    <dgm:pt modelId="{41D47B38-A55D-4F37-BA75-C42142A26D65}" type="parTrans" cxnId="{BEA2E084-691C-4BD6-ABE9-37CAD603F8EC}">
      <dgm:prSet/>
      <dgm:spPr/>
      <dgm:t>
        <a:bodyPr/>
        <a:lstStyle/>
        <a:p>
          <a:endParaRPr lang="cs-CZ"/>
        </a:p>
      </dgm:t>
    </dgm:pt>
    <dgm:pt modelId="{5B7FFFEC-ED3C-486C-87F3-C6DBEC6BE052}" type="sibTrans" cxnId="{BEA2E084-691C-4BD6-ABE9-37CAD603F8EC}">
      <dgm:prSet/>
      <dgm:spPr>
        <a:blipFill>
          <a:blip xmlns:r="http://schemas.openxmlformats.org/officeDocument/2006/relationships" r:embed="rId2"/>
          <a:srcRect/>
          <a:stretch>
            <a:fillRect t="-8000" b="-8000"/>
          </a:stretch>
        </a:blipFill>
      </dgm:spPr>
      <dgm:t>
        <a:bodyPr/>
        <a:lstStyle/>
        <a:p>
          <a:endParaRPr lang="cs-CZ"/>
        </a:p>
      </dgm:t>
    </dgm:pt>
    <dgm:pt modelId="{849CC858-1AF9-4C0B-B0DA-F95A04B1F949}">
      <dgm:prSet phldrT="[Text]" custT="1"/>
      <dgm:spPr/>
      <dgm:t>
        <a:bodyPr/>
        <a:lstStyle/>
        <a:p>
          <a:r>
            <a:rPr lang="sk-SK" sz="1200" b="1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treamovanie diskusie na Facebooku podujatia Naprieč Slovenskom</a:t>
          </a:r>
        </a:p>
      </dgm:t>
    </dgm:pt>
    <dgm:pt modelId="{C035B930-8A10-4157-A958-47FB7482B61E}" type="parTrans" cxnId="{4AE0C569-AD93-4D4A-9862-ED4D54BA266C}">
      <dgm:prSet/>
      <dgm:spPr/>
      <dgm:t>
        <a:bodyPr/>
        <a:lstStyle/>
        <a:p>
          <a:endParaRPr lang="cs-CZ"/>
        </a:p>
      </dgm:t>
    </dgm:pt>
    <dgm:pt modelId="{30CB92CA-C733-44AD-AE8D-77367A913AA4}" type="sibTrans" cxnId="{4AE0C569-AD93-4D4A-9862-ED4D54BA266C}">
      <dgm:prSet/>
      <dgm:spPr>
        <a:blipFill>
          <a:blip xmlns:r="http://schemas.openxmlformats.org/officeDocument/2006/relationships" r:embed="rId3"/>
          <a:srcRect/>
          <a:stretch>
            <a:fillRect l="-25000" r="-25000"/>
          </a:stretch>
        </a:blipFill>
      </dgm:spPr>
      <dgm:t>
        <a:bodyPr/>
        <a:lstStyle/>
        <a:p>
          <a:endParaRPr lang="cs-CZ"/>
        </a:p>
      </dgm:t>
    </dgm:pt>
    <dgm:pt modelId="{F8636983-A3A4-42F2-8E6F-5352BAAE8C1B}">
      <dgm:prSet phldrT="[Text]" custT="1"/>
      <dgm:spPr/>
      <dgm:t>
        <a:bodyPr/>
        <a:lstStyle/>
        <a:p>
          <a:r>
            <a:rPr lang="sk-SK" sz="1200" b="1" cap="none" spc="0" noProof="0" err="1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Cross-posting</a:t>
          </a:r>
          <a:r>
            <a:rPr lang="sk-SK" sz="1200" b="1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 streamu diskusie relevantnými médiami</a:t>
          </a:r>
        </a:p>
      </dgm:t>
    </dgm:pt>
    <dgm:pt modelId="{1B8E8A18-987D-4BFE-B548-7AA49E1A48D3}" type="parTrans" cxnId="{757D048D-B5F3-496F-ACEF-4544E257C8D3}">
      <dgm:prSet/>
      <dgm:spPr/>
      <dgm:t>
        <a:bodyPr/>
        <a:lstStyle/>
        <a:p>
          <a:endParaRPr lang="cs-CZ"/>
        </a:p>
      </dgm:t>
    </dgm:pt>
    <dgm:pt modelId="{EDA28950-00BE-4F95-A76B-0A2705DCEB32}" type="sibTrans" cxnId="{757D048D-B5F3-496F-ACEF-4544E257C8D3}">
      <dgm:prSet/>
      <dgm:spPr>
        <a:blipFill>
          <a:blip xmlns:r="http://schemas.openxmlformats.org/officeDocument/2006/relationships" r:embed="rId4"/>
          <a:srcRect/>
          <a:stretch>
            <a:fillRect t="-8000" b="-8000"/>
          </a:stretch>
        </a:blipFill>
      </dgm:spPr>
      <dgm:t>
        <a:bodyPr/>
        <a:lstStyle/>
        <a:p>
          <a:endParaRPr lang="cs-CZ"/>
        </a:p>
      </dgm:t>
    </dgm:pt>
    <dgm:pt modelId="{AF80E6C2-C780-4D27-B514-84A9F7B04F48}">
      <dgm:prSet phldrT="[Text]" custT="1"/>
      <dgm:spPr/>
      <dgm:t>
        <a:bodyPr/>
        <a:lstStyle/>
        <a:p>
          <a:r>
            <a:rPr lang="sk-SK" sz="1200" b="1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Diskusia na tému bezpečnosť a tolerancia na cestách</a:t>
          </a:r>
        </a:p>
      </dgm:t>
    </dgm:pt>
    <dgm:pt modelId="{1C49EEB1-AE83-4D3F-9ABF-82D22C198ADC}" type="sibTrans" cxnId="{A0735FB6-32ED-4978-B0C2-88BD585557FE}">
      <dgm:prSet/>
      <dgm:spPr>
        <a:blipFill>
          <a:blip xmlns:r="http://schemas.openxmlformats.org/officeDocument/2006/relationships" r:embed="rId5"/>
          <a:srcRect/>
          <a:stretch>
            <a:fillRect t="-20000" b="-20000"/>
          </a:stretch>
        </a:blipFill>
      </dgm:spPr>
      <dgm:t>
        <a:bodyPr/>
        <a:lstStyle/>
        <a:p>
          <a:endParaRPr lang="cs-CZ"/>
        </a:p>
      </dgm:t>
    </dgm:pt>
    <dgm:pt modelId="{B999CF4D-6893-445F-808F-374AE8F6B0D5}" type="parTrans" cxnId="{A0735FB6-32ED-4978-B0C2-88BD585557FE}">
      <dgm:prSet/>
      <dgm:spPr/>
      <dgm:t>
        <a:bodyPr/>
        <a:lstStyle/>
        <a:p>
          <a:endParaRPr lang="cs-CZ"/>
        </a:p>
      </dgm:t>
    </dgm:pt>
    <dgm:pt modelId="{67096553-3EE7-4FAA-8096-616CEF86496C}">
      <dgm:prSet custT="1"/>
      <dgm:spPr/>
      <dgm:t>
        <a:bodyPr/>
        <a:lstStyle/>
        <a:p>
          <a:r>
            <a:rPr lang="sk-SK" sz="1200" b="1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ktívna účasť 2 redaktorov </a:t>
          </a:r>
          <a:r>
            <a:rPr lang="sk-SK" sz="1175" b="1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pravodajstva</a:t>
          </a:r>
          <a:r>
            <a:rPr lang="sk-SK" sz="1200" b="1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 v pelotóne  prvej etapy jazdy</a:t>
          </a:r>
          <a:endParaRPr lang="de-DE" sz="1200" b="1" cap="none" spc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gm:t>
    </dgm:pt>
    <dgm:pt modelId="{1EC7FAAB-7B47-40EB-B0C6-AC73B6ADD816}" type="sibTrans" cxnId="{97C6E525-56A0-4F30-99A1-2FC95BD7C828}">
      <dgm:prSet/>
      <dgm:spPr>
        <a:blipFill>
          <a:blip xmlns:r="http://schemas.openxmlformats.org/officeDocument/2006/relationships" r:embed="rId6"/>
          <a:srcRect/>
          <a:stretch>
            <a:fillRect l="-14000" r="-14000"/>
          </a:stretch>
        </a:blipFill>
      </dgm:spPr>
      <dgm:t>
        <a:bodyPr/>
        <a:lstStyle/>
        <a:p>
          <a:endParaRPr lang="cs-CZ"/>
        </a:p>
      </dgm:t>
    </dgm:pt>
    <dgm:pt modelId="{9702667C-9A15-4655-8B25-5A840D98C8B2}" type="parTrans" cxnId="{97C6E525-56A0-4F30-99A1-2FC95BD7C828}">
      <dgm:prSet/>
      <dgm:spPr/>
      <dgm:t>
        <a:bodyPr/>
        <a:lstStyle/>
        <a:p>
          <a:endParaRPr lang="de-DE"/>
        </a:p>
      </dgm:t>
    </dgm:pt>
    <dgm:pt modelId="{38625377-5B8D-45D9-9B1C-1C50A1B9C79A}">
      <dgm:prSet custT="1"/>
      <dgm:spPr/>
      <dgm:t>
        <a:bodyPr/>
        <a:lstStyle/>
        <a:p>
          <a:r>
            <a:rPr lang="sk-SK" sz="1200" b="1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Tlačová správa</a:t>
          </a:r>
        </a:p>
      </dgm:t>
    </dgm:pt>
    <dgm:pt modelId="{3B96DC0C-DCD9-4A52-8F20-B100E4C3CFF6}" type="sibTrans" cxnId="{55110F64-49CA-4521-89BC-723CC1BE8723}">
      <dgm:prSet/>
      <dgm:spPr>
        <a:blipFill>
          <a:blip xmlns:r="http://schemas.openxmlformats.org/officeDocument/2006/relationships" r:embed="rId7"/>
          <a:srcRect/>
          <a:stretch>
            <a:fillRect l="-1000" r="-1000"/>
          </a:stretch>
        </a:blipFill>
      </dgm:spPr>
      <dgm:t>
        <a:bodyPr/>
        <a:lstStyle/>
        <a:p>
          <a:endParaRPr lang="cs-CZ"/>
        </a:p>
      </dgm:t>
    </dgm:pt>
    <dgm:pt modelId="{86FEE051-20F1-43CD-AF2D-4F7CA19EDD19}" type="parTrans" cxnId="{55110F64-49CA-4521-89BC-723CC1BE8723}">
      <dgm:prSet/>
      <dgm:spPr/>
      <dgm:t>
        <a:bodyPr/>
        <a:lstStyle/>
        <a:p>
          <a:endParaRPr lang="sk-SK"/>
        </a:p>
      </dgm:t>
    </dgm:pt>
    <dgm:pt modelId="{A0A2B7E7-5584-49FE-9274-2A0F4C7F65E8}" type="pres">
      <dgm:prSet presAssocID="{48520F18-CA2B-4F89-8DD3-5B547A126C0E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sk-SK"/>
        </a:p>
      </dgm:t>
    </dgm:pt>
    <dgm:pt modelId="{BCB2FC02-AFA2-4FF0-AA68-C7C2BE9ED3B2}" type="pres">
      <dgm:prSet presAssocID="{67096553-3EE7-4FAA-8096-616CEF86496C}" presName="text1" presStyleCnt="0"/>
      <dgm:spPr/>
    </dgm:pt>
    <dgm:pt modelId="{6BB3EF5F-DAAB-4CED-8988-2361563EA20A}" type="pres">
      <dgm:prSet presAssocID="{67096553-3EE7-4FAA-8096-616CEF86496C}" presName="textRepeatNode" presStyleLbl="alignNode1" presStyleIdx="0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9301AF07-0F32-4C64-99BF-255D0120BF1A}" type="pres">
      <dgm:prSet presAssocID="{67096553-3EE7-4FAA-8096-616CEF86496C}" presName="textaccent1" presStyleCnt="0"/>
      <dgm:spPr/>
    </dgm:pt>
    <dgm:pt modelId="{E2903C39-6DBA-4F11-9769-EAA1246516B1}" type="pres">
      <dgm:prSet presAssocID="{67096553-3EE7-4FAA-8096-616CEF86496C}" presName="accentRepeatNode" presStyleLbl="solidAlignAcc1" presStyleIdx="0" presStyleCnt="14"/>
      <dgm:spPr/>
    </dgm:pt>
    <dgm:pt modelId="{F85EB9EB-FB92-4393-89E1-98613B72AD32}" type="pres">
      <dgm:prSet presAssocID="{1EC7FAAB-7B47-40EB-B0C6-AC73B6ADD816}" presName="image1" presStyleCnt="0"/>
      <dgm:spPr/>
    </dgm:pt>
    <dgm:pt modelId="{AF7F6A88-C10C-4004-947B-7018004295D2}" type="pres">
      <dgm:prSet presAssocID="{1EC7FAAB-7B47-40EB-B0C6-AC73B6ADD816}" presName="imageRepeatNode" presStyleLbl="alignAcc1" presStyleIdx="0" presStyleCnt="7"/>
      <dgm:spPr/>
      <dgm:t>
        <a:bodyPr/>
        <a:lstStyle/>
        <a:p>
          <a:endParaRPr lang="sk-SK"/>
        </a:p>
      </dgm:t>
    </dgm:pt>
    <dgm:pt modelId="{DB77C336-97B5-490C-BD89-E042C0810045}" type="pres">
      <dgm:prSet presAssocID="{1EC7FAAB-7B47-40EB-B0C6-AC73B6ADD816}" presName="imageaccent1" presStyleCnt="0"/>
      <dgm:spPr/>
    </dgm:pt>
    <dgm:pt modelId="{C4948814-E24E-403F-9E6D-7C430E80ACFA}" type="pres">
      <dgm:prSet presAssocID="{1EC7FAAB-7B47-40EB-B0C6-AC73B6ADD816}" presName="accentRepeatNode" presStyleLbl="solidAlignAcc1" presStyleIdx="1" presStyleCnt="14"/>
      <dgm:spPr/>
    </dgm:pt>
    <dgm:pt modelId="{4247019B-BD1A-4503-8EE4-2CEF3F3EBAB1}" type="pres">
      <dgm:prSet presAssocID="{AF80E6C2-C780-4D27-B514-84A9F7B04F48}" presName="text2" presStyleCnt="0"/>
      <dgm:spPr/>
    </dgm:pt>
    <dgm:pt modelId="{61CB2D57-FCD3-46D8-8408-F8AA379CF318}" type="pres">
      <dgm:prSet presAssocID="{AF80E6C2-C780-4D27-B514-84A9F7B04F48}" presName="textRepeatNode" presStyleLbl="alignNode1" presStyleIdx="1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B535F883-9E00-449A-9ED2-D4AA05DD1273}" type="pres">
      <dgm:prSet presAssocID="{AF80E6C2-C780-4D27-B514-84A9F7B04F48}" presName="textaccent2" presStyleCnt="0"/>
      <dgm:spPr/>
    </dgm:pt>
    <dgm:pt modelId="{83145C5D-7B67-473F-9156-A84AFC57B6BA}" type="pres">
      <dgm:prSet presAssocID="{AF80E6C2-C780-4D27-B514-84A9F7B04F48}" presName="accentRepeatNode" presStyleLbl="solidAlignAcc1" presStyleIdx="2" presStyleCnt="14"/>
      <dgm:spPr/>
    </dgm:pt>
    <dgm:pt modelId="{EACF9DCE-25A1-4DC0-825D-E979EEC724F9}" type="pres">
      <dgm:prSet presAssocID="{1C49EEB1-AE83-4D3F-9ABF-82D22C198ADC}" presName="image2" presStyleCnt="0"/>
      <dgm:spPr/>
    </dgm:pt>
    <dgm:pt modelId="{2F65FAF9-5214-4441-8C00-EF2F605E9A04}" type="pres">
      <dgm:prSet presAssocID="{1C49EEB1-AE83-4D3F-9ABF-82D22C198ADC}" presName="imageRepeatNode" presStyleLbl="alignAcc1" presStyleIdx="1" presStyleCnt="7" custLinFactNeighborX="181"/>
      <dgm:spPr/>
      <dgm:t>
        <a:bodyPr/>
        <a:lstStyle/>
        <a:p>
          <a:endParaRPr lang="sk-SK"/>
        </a:p>
      </dgm:t>
    </dgm:pt>
    <dgm:pt modelId="{6262C6A0-434F-4F0A-8327-0A1657CE9633}" type="pres">
      <dgm:prSet presAssocID="{1C49EEB1-AE83-4D3F-9ABF-82D22C198ADC}" presName="imageaccent2" presStyleCnt="0"/>
      <dgm:spPr/>
    </dgm:pt>
    <dgm:pt modelId="{0A2C2075-AA94-486E-83EF-83827A565D2C}" type="pres">
      <dgm:prSet presAssocID="{1C49EEB1-AE83-4D3F-9ABF-82D22C198ADC}" presName="accentRepeatNode" presStyleLbl="solidAlignAcc1" presStyleIdx="3" presStyleCnt="14"/>
      <dgm:spPr/>
    </dgm:pt>
    <dgm:pt modelId="{50FCD177-50EE-463A-B16E-B0CB58A96F04}" type="pres">
      <dgm:prSet presAssocID="{348A76D8-393A-4FE9-B940-225893CD343C}" presName="text3" presStyleCnt="0"/>
      <dgm:spPr/>
    </dgm:pt>
    <dgm:pt modelId="{0513D8D9-FF95-4926-BE86-E0B5F176A10A}" type="pres">
      <dgm:prSet presAssocID="{348A76D8-393A-4FE9-B940-225893CD343C}" presName="textRepeatNode" presStyleLbl="alignNode1" presStyleIdx="2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A7F44B1E-5E8B-4BF9-B716-189A823363E5}" type="pres">
      <dgm:prSet presAssocID="{348A76D8-393A-4FE9-B940-225893CD343C}" presName="textaccent3" presStyleCnt="0"/>
      <dgm:spPr/>
    </dgm:pt>
    <dgm:pt modelId="{2CD47FB7-6DA2-41E0-9DF5-83D56FF5EE00}" type="pres">
      <dgm:prSet presAssocID="{348A76D8-393A-4FE9-B940-225893CD343C}" presName="accentRepeatNode" presStyleLbl="solidAlignAcc1" presStyleIdx="4" presStyleCnt="14"/>
      <dgm:spPr/>
    </dgm:pt>
    <dgm:pt modelId="{12735E5A-C6ED-40CD-B6C1-E675A787A124}" type="pres">
      <dgm:prSet presAssocID="{FDE4B32E-B4B6-46A9-9D80-EA114C464DF1}" presName="image3" presStyleCnt="0"/>
      <dgm:spPr/>
    </dgm:pt>
    <dgm:pt modelId="{470A1B63-884B-48F9-8B0B-73B782E4522D}" type="pres">
      <dgm:prSet presAssocID="{FDE4B32E-B4B6-46A9-9D80-EA114C464DF1}" presName="imageRepeatNode" presStyleLbl="alignAcc1" presStyleIdx="2" presStyleCnt="7"/>
      <dgm:spPr/>
      <dgm:t>
        <a:bodyPr/>
        <a:lstStyle/>
        <a:p>
          <a:endParaRPr lang="sk-SK"/>
        </a:p>
      </dgm:t>
    </dgm:pt>
    <dgm:pt modelId="{A08954EE-F93A-4752-A02E-EE6CDE31A846}" type="pres">
      <dgm:prSet presAssocID="{FDE4B32E-B4B6-46A9-9D80-EA114C464DF1}" presName="imageaccent3" presStyleCnt="0"/>
      <dgm:spPr/>
    </dgm:pt>
    <dgm:pt modelId="{C510ACFD-2CBD-4EA8-BAF8-20D8D96E3F66}" type="pres">
      <dgm:prSet presAssocID="{FDE4B32E-B4B6-46A9-9D80-EA114C464DF1}" presName="accentRepeatNode" presStyleLbl="solidAlignAcc1" presStyleIdx="5" presStyleCnt="14"/>
      <dgm:spPr/>
    </dgm:pt>
    <dgm:pt modelId="{ED9A570B-FE88-4936-99CE-6A95E5373F02}" type="pres">
      <dgm:prSet presAssocID="{C287DE7C-7E09-400D-B416-0A3350DDF282}" presName="text4" presStyleCnt="0"/>
      <dgm:spPr/>
    </dgm:pt>
    <dgm:pt modelId="{A6300984-71C9-454C-B276-E314F08F4391}" type="pres">
      <dgm:prSet presAssocID="{C287DE7C-7E09-400D-B416-0A3350DDF282}" presName="textRepeatNode" presStyleLbl="alignNode1" presStyleIdx="3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C34F709D-AF77-4600-AF20-8FFA69C68AF0}" type="pres">
      <dgm:prSet presAssocID="{C287DE7C-7E09-400D-B416-0A3350DDF282}" presName="textaccent4" presStyleCnt="0"/>
      <dgm:spPr/>
    </dgm:pt>
    <dgm:pt modelId="{7287B24F-197A-4266-8DFE-0BEAC15F2E1A}" type="pres">
      <dgm:prSet presAssocID="{C287DE7C-7E09-400D-B416-0A3350DDF282}" presName="accentRepeatNode" presStyleLbl="solidAlignAcc1" presStyleIdx="6" presStyleCnt="14"/>
      <dgm:spPr/>
    </dgm:pt>
    <dgm:pt modelId="{653AC693-8E1D-41A4-A571-596BB399F1DB}" type="pres">
      <dgm:prSet presAssocID="{5B7FFFEC-ED3C-486C-87F3-C6DBEC6BE052}" presName="image4" presStyleCnt="0"/>
      <dgm:spPr/>
    </dgm:pt>
    <dgm:pt modelId="{69DA54A0-936A-4791-84A1-E655020E0A77}" type="pres">
      <dgm:prSet presAssocID="{5B7FFFEC-ED3C-486C-87F3-C6DBEC6BE052}" presName="imageRepeatNode" presStyleLbl="alignAcc1" presStyleIdx="3" presStyleCnt="7"/>
      <dgm:spPr/>
      <dgm:t>
        <a:bodyPr/>
        <a:lstStyle/>
        <a:p>
          <a:endParaRPr lang="sk-SK"/>
        </a:p>
      </dgm:t>
    </dgm:pt>
    <dgm:pt modelId="{AAF8A484-DB7E-42A2-83A1-1A6EAF44F0DD}" type="pres">
      <dgm:prSet presAssocID="{5B7FFFEC-ED3C-486C-87F3-C6DBEC6BE052}" presName="imageaccent4" presStyleCnt="0"/>
      <dgm:spPr/>
    </dgm:pt>
    <dgm:pt modelId="{4AA35131-5D27-4CE3-AD34-9B5B326C40D7}" type="pres">
      <dgm:prSet presAssocID="{5B7FFFEC-ED3C-486C-87F3-C6DBEC6BE052}" presName="accentRepeatNode" presStyleLbl="solidAlignAcc1" presStyleIdx="7" presStyleCnt="14"/>
      <dgm:spPr/>
    </dgm:pt>
    <dgm:pt modelId="{24F32D13-66A7-4328-91F8-2E2402A15DCB}" type="pres">
      <dgm:prSet presAssocID="{849CC858-1AF9-4C0B-B0DA-F95A04B1F949}" presName="text5" presStyleCnt="0"/>
      <dgm:spPr/>
    </dgm:pt>
    <dgm:pt modelId="{1FF0BEDA-604C-4982-8892-59380547E17F}" type="pres">
      <dgm:prSet presAssocID="{849CC858-1AF9-4C0B-B0DA-F95A04B1F949}" presName="textRepeatNode" presStyleLbl="alignNode1" presStyleIdx="4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0F18C3F0-0BD2-4628-BB33-7FF5DCD3FD6B}" type="pres">
      <dgm:prSet presAssocID="{849CC858-1AF9-4C0B-B0DA-F95A04B1F949}" presName="textaccent5" presStyleCnt="0"/>
      <dgm:spPr/>
    </dgm:pt>
    <dgm:pt modelId="{9CCFEBD2-7537-4A4C-A8A9-61C6F0D0A352}" type="pres">
      <dgm:prSet presAssocID="{849CC858-1AF9-4C0B-B0DA-F95A04B1F949}" presName="accentRepeatNode" presStyleLbl="solidAlignAcc1" presStyleIdx="8" presStyleCnt="14"/>
      <dgm:spPr/>
    </dgm:pt>
    <dgm:pt modelId="{936FC802-F8D4-4E36-BFBD-CC02E9E6EE60}" type="pres">
      <dgm:prSet presAssocID="{30CB92CA-C733-44AD-AE8D-77367A913AA4}" presName="image5" presStyleCnt="0"/>
      <dgm:spPr/>
    </dgm:pt>
    <dgm:pt modelId="{05E43813-77A0-48A5-BBB2-829B14768F69}" type="pres">
      <dgm:prSet presAssocID="{30CB92CA-C733-44AD-AE8D-77367A913AA4}" presName="imageRepeatNode" presStyleLbl="alignAcc1" presStyleIdx="4" presStyleCnt="7"/>
      <dgm:spPr/>
      <dgm:t>
        <a:bodyPr/>
        <a:lstStyle/>
        <a:p>
          <a:endParaRPr lang="sk-SK"/>
        </a:p>
      </dgm:t>
    </dgm:pt>
    <dgm:pt modelId="{B1CF729E-0AC1-4DF0-97FB-BBB469BAEB27}" type="pres">
      <dgm:prSet presAssocID="{30CB92CA-C733-44AD-AE8D-77367A913AA4}" presName="imageaccent5" presStyleCnt="0"/>
      <dgm:spPr/>
    </dgm:pt>
    <dgm:pt modelId="{12530278-086A-4998-B366-BAC28CB3EDF3}" type="pres">
      <dgm:prSet presAssocID="{30CB92CA-C733-44AD-AE8D-77367A913AA4}" presName="accentRepeatNode" presStyleLbl="solidAlignAcc1" presStyleIdx="9" presStyleCnt="14"/>
      <dgm:spPr/>
    </dgm:pt>
    <dgm:pt modelId="{DB16AE24-9ADA-43FB-8CF0-333A46226511}" type="pres">
      <dgm:prSet presAssocID="{F8636983-A3A4-42F2-8E6F-5352BAAE8C1B}" presName="text6" presStyleCnt="0"/>
      <dgm:spPr/>
    </dgm:pt>
    <dgm:pt modelId="{3CEF7893-6F14-461C-A20B-9FD26261CCFF}" type="pres">
      <dgm:prSet presAssocID="{F8636983-A3A4-42F2-8E6F-5352BAAE8C1B}" presName="textRepeatNode" presStyleLbl="alignNode1" presStyleIdx="5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4E41CF68-0828-499A-A8CD-0DCEA623266D}" type="pres">
      <dgm:prSet presAssocID="{F8636983-A3A4-42F2-8E6F-5352BAAE8C1B}" presName="textaccent6" presStyleCnt="0"/>
      <dgm:spPr/>
    </dgm:pt>
    <dgm:pt modelId="{A760CE29-C976-4D67-AB25-AFE855C4E306}" type="pres">
      <dgm:prSet presAssocID="{F8636983-A3A4-42F2-8E6F-5352BAAE8C1B}" presName="accentRepeatNode" presStyleLbl="solidAlignAcc1" presStyleIdx="10" presStyleCnt="14"/>
      <dgm:spPr/>
    </dgm:pt>
    <dgm:pt modelId="{E2FB00F1-3CE3-4D2F-8807-0BC882C339FB}" type="pres">
      <dgm:prSet presAssocID="{EDA28950-00BE-4F95-A76B-0A2705DCEB32}" presName="image6" presStyleCnt="0"/>
      <dgm:spPr/>
    </dgm:pt>
    <dgm:pt modelId="{7D2CFC79-4AB0-4741-8EC7-19247224FF99}" type="pres">
      <dgm:prSet presAssocID="{EDA28950-00BE-4F95-A76B-0A2705DCEB32}" presName="imageRepeatNode" presStyleLbl="alignAcc1" presStyleIdx="5" presStyleCnt="7"/>
      <dgm:spPr/>
      <dgm:t>
        <a:bodyPr/>
        <a:lstStyle/>
        <a:p>
          <a:endParaRPr lang="sk-SK"/>
        </a:p>
      </dgm:t>
    </dgm:pt>
    <dgm:pt modelId="{F0787B40-35F6-4646-9341-0E4D379F0D84}" type="pres">
      <dgm:prSet presAssocID="{EDA28950-00BE-4F95-A76B-0A2705DCEB32}" presName="imageaccent6" presStyleCnt="0"/>
      <dgm:spPr/>
    </dgm:pt>
    <dgm:pt modelId="{E8968252-36C0-49A9-9081-6BEAD42E9C86}" type="pres">
      <dgm:prSet presAssocID="{EDA28950-00BE-4F95-A76B-0A2705DCEB32}" presName="accentRepeatNode" presStyleLbl="solidAlignAcc1" presStyleIdx="11" presStyleCnt="14"/>
      <dgm:spPr/>
    </dgm:pt>
    <dgm:pt modelId="{C416B6A6-DF21-4D68-9130-EA1DE852539E}" type="pres">
      <dgm:prSet presAssocID="{38625377-5B8D-45D9-9B1C-1C50A1B9C79A}" presName="text7" presStyleCnt="0"/>
      <dgm:spPr/>
    </dgm:pt>
    <dgm:pt modelId="{D3A16B3D-DCF5-458E-9FC3-B7834544EAFB}" type="pres">
      <dgm:prSet presAssocID="{38625377-5B8D-45D9-9B1C-1C50A1B9C79A}" presName="textRepeatNode" presStyleLbl="alignNode1" presStyleIdx="6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sk-SK"/>
        </a:p>
      </dgm:t>
    </dgm:pt>
    <dgm:pt modelId="{62B68E39-9298-49D4-98ED-6D73C9358984}" type="pres">
      <dgm:prSet presAssocID="{38625377-5B8D-45D9-9B1C-1C50A1B9C79A}" presName="textaccent7" presStyleCnt="0"/>
      <dgm:spPr/>
    </dgm:pt>
    <dgm:pt modelId="{1C7E427D-87F0-4932-AF12-F57D15916997}" type="pres">
      <dgm:prSet presAssocID="{38625377-5B8D-45D9-9B1C-1C50A1B9C79A}" presName="accentRepeatNode" presStyleLbl="solidAlignAcc1" presStyleIdx="12" presStyleCnt="14"/>
      <dgm:spPr/>
    </dgm:pt>
    <dgm:pt modelId="{EEEC845B-EB9C-4311-9A90-1682BBF515C8}" type="pres">
      <dgm:prSet presAssocID="{3B96DC0C-DCD9-4A52-8F20-B100E4C3CFF6}" presName="image7" presStyleCnt="0"/>
      <dgm:spPr/>
    </dgm:pt>
    <dgm:pt modelId="{65B48D45-4A88-4678-A65F-460679429ECB}" type="pres">
      <dgm:prSet presAssocID="{3B96DC0C-DCD9-4A52-8F20-B100E4C3CFF6}" presName="imageRepeatNode" presStyleLbl="alignAcc1" presStyleIdx="6" presStyleCnt="7"/>
      <dgm:spPr/>
      <dgm:t>
        <a:bodyPr/>
        <a:lstStyle/>
        <a:p>
          <a:endParaRPr lang="sk-SK"/>
        </a:p>
      </dgm:t>
    </dgm:pt>
    <dgm:pt modelId="{8DA64A46-5919-492C-A65D-03140B26F687}" type="pres">
      <dgm:prSet presAssocID="{3B96DC0C-DCD9-4A52-8F20-B100E4C3CFF6}" presName="imageaccent7" presStyleCnt="0"/>
      <dgm:spPr/>
    </dgm:pt>
    <dgm:pt modelId="{5F4ABA6B-4EF6-4725-AD55-90973C2BB046}" type="pres">
      <dgm:prSet presAssocID="{3B96DC0C-DCD9-4A52-8F20-B100E4C3CFF6}" presName="accentRepeatNode" presStyleLbl="solidAlignAcc1" presStyleIdx="13" presStyleCnt="14"/>
      <dgm:spPr/>
    </dgm:pt>
  </dgm:ptLst>
  <dgm:cxnLst>
    <dgm:cxn modelId="{C1C7B9D5-CE11-423E-B5C9-7F4B53742D5D}" type="presOf" srcId="{48520F18-CA2B-4F89-8DD3-5B547A126C0E}" destId="{A0A2B7E7-5584-49FE-9274-2A0F4C7F65E8}" srcOrd="0" destOrd="0" presId="urn:microsoft.com/office/officeart/2008/layout/HexagonCluster"/>
    <dgm:cxn modelId="{55110F64-49CA-4521-89BC-723CC1BE8723}" srcId="{48520F18-CA2B-4F89-8DD3-5B547A126C0E}" destId="{38625377-5B8D-45D9-9B1C-1C50A1B9C79A}" srcOrd="6" destOrd="0" parTransId="{86FEE051-20F1-43CD-AF2D-4F7CA19EDD19}" sibTransId="{3B96DC0C-DCD9-4A52-8F20-B100E4C3CFF6}"/>
    <dgm:cxn modelId="{00C3A7B6-0463-4AEE-BE4D-744AA404D22D}" type="presOf" srcId="{1EC7FAAB-7B47-40EB-B0C6-AC73B6ADD816}" destId="{AF7F6A88-C10C-4004-947B-7018004295D2}" srcOrd="0" destOrd="0" presId="urn:microsoft.com/office/officeart/2008/layout/HexagonCluster"/>
    <dgm:cxn modelId="{BEA2E084-691C-4BD6-ABE9-37CAD603F8EC}" srcId="{48520F18-CA2B-4F89-8DD3-5B547A126C0E}" destId="{C287DE7C-7E09-400D-B416-0A3350DDF282}" srcOrd="3" destOrd="0" parTransId="{41D47B38-A55D-4F37-BA75-C42142A26D65}" sibTransId="{5B7FFFEC-ED3C-486C-87F3-C6DBEC6BE052}"/>
    <dgm:cxn modelId="{706AE575-FCD6-47DC-9EFE-642C6F53FB8A}" type="presOf" srcId="{EDA28950-00BE-4F95-A76B-0A2705DCEB32}" destId="{7D2CFC79-4AB0-4741-8EC7-19247224FF99}" srcOrd="0" destOrd="0" presId="urn:microsoft.com/office/officeart/2008/layout/HexagonCluster"/>
    <dgm:cxn modelId="{4E6926B8-D0AA-495F-9721-F42FBD1FE7FE}" type="presOf" srcId="{849CC858-1AF9-4C0B-B0DA-F95A04B1F949}" destId="{1FF0BEDA-604C-4982-8892-59380547E17F}" srcOrd="0" destOrd="0" presId="urn:microsoft.com/office/officeart/2008/layout/HexagonCluster"/>
    <dgm:cxn modelId="{68E0C526-4A6A-47E0-A3E5-4A398049514B}" type="presOf" srcId="{AF80E6C2-C780-4D27-B514-84A9F7B04F48}" destId="{61CB2D57-FCD3-46D8-8408-F8AA379CF318}" srcOrd="0" destOrd="0" presId="urn:microsoft.com/office/officeart/2008/layout/HexagonCluster"/>
    <dgm:cxn modelId="{3E2E0611-D11B-4063-878B-BCF91BF366CE}" type="presOf" srcId="{C287DE7C-7E09-400D-B416-0A3350DDF282}" destId="{A6300984-71C9-454C-B276-E314F08F4391}" srcOrd="0" destOrd="0" presId="urn:microsoft.com/office/officeart/2008/layout/HexagonCluster"/>
    <dgm:cxn modelId="{AE405E9E-FC97-468A-9218-23766E980458}" type="presOf" srcId="{38625377-5B8D-45D9-9B1C-1C50A1B9C79A}" destId="{D3A16B3D-DCF5-458E-9FC3-B7834544EAFB}" srcOrd="0" destOrd="0" presId="urn:microsoft.com/office/officeart/2008/layout/HexagonCluster"/>
    <dgm:cxn modelId="{ED462D43-AE4B-44BD-ACE8-675743E34013}" type="presOf" srcId="{1C49EEB1-AE83-4D3F-9ABF-82D22C198ADC}" destId="{2F65FAF9-5214-4441-8C00-EF2F605E9A04}" srcOrd="0" destOrd="0" presId="urn:microsoft.com/office/officeart/2008/layout/HexagonCluster"/>
    <dgm:cxn modelId="{DEF1FD4A-8533-4FD7-A734-0A7A1F5A2B18}" type="presOf" srcId="{FDE4B32E-B4B6-46A9-9D80-EA114C464DF1}" destId="{470A1B63-884B-48F9-8B0B-73B782E4522D}" srcOrd="0" destOrd="0" presId="urn:microsoft.com/office/officeart/2008/layout/HexagonCluster"/>
    <dgm:cxn modelId="{757D048D-B5F3-496F-ACEF-4544E257C8D3}" srcId="{48520F18-CA2B-4F89-8DD3-5B547A126C0E}" destId="{F8636983-A3A4-42F2-8E6F-5352BAAE8C1B}" srcOrd="5" destOrd="0" parTransId="{1B8E8A18-987D-4BFE-B548-7AA49E1A48D3}" sibTransId="{EDA28950-00BE-4F95-A76B-0A2705DCEB32}"/>
    <dgm:cxn modelId="{1BCDCD84-5CC1-4554-B8E8-59E1E960070D}" type="presOf" srcId="{30CB92CA-C733-44AD-AE8D-77367A913AA4}" destId="{05E43813-77A0-48A5-BBB2-829B14768F69}" srcOrd="0" destOrd="0" presId="urn:microsoft.com/office/officeart/2008/layout/HexagonCluster"/>
    <dgm:cxn modelId="{1D06C842-F0E7-4486-8CD8-AF3D654362EF}" type="presOf" srcId="{348A76D8-393A-4FE9-B940-225893CD343C}" destId="{0513D8D9-FF95-4926-BE86-E0B5F176A10A}" srcOrd="0" destOrd="0" presId="urn:microsoft.com/office/officeart/2008/layout/HexagonCluster"/>
    <dgm:cxn modelId="{DE2C25F5-36F8-451B-9B99-7E3D59F0A172}" srcId="{48520F18-CA2B-4F89-8DD3-5B547A126C0E}" destId="{348A76D8-393A-4FE9-B940-225893CD343C}" srcOrd="2" destOrd="0" parTransId="{319080D5-EC0D-4C47-A409-976E3C1C4B77}" sibTransId="{FDE4B32E-B4B6-46A9-9D80-EA114C464DF1}"/>
    <dgm:cxn modelId="{4AE0C569-AD93-4D4A-9862-ED4D54BA266C}" srcId="{48520F18-CA2B-4F89-8DD3-5B547A126C0E}" destId="{849CC858-1AF9-4C0B-B0DA-F95A04B1F949}" srcOrd="4" destOrd="0" parTransId="{C035B930-8A10-4157-A958-47FB7482B61E}" sibTransId="{30CB92CA-C733-44AD-AE8D-77367A913AA4}"/>
    <dgm:cxn modelId="{97C6E525-56A0-4F30-99A1-2FC95BD7C828}" srcId="{48520F18-CA2B-4F89-8DD3-5B547A126C0E}" destId="{67096553-3EE7-4FAA-8096-616CEF86496C}" srcOrd="0" destOrd="0" parTransId="{9702667C-9A15-4655-8B25-5A840D98C8B2}" sibTransId="{1EC7FAAB-7B47-40EB-B0C6-AC73B6ADD816}"/>
    <dgm:cxn modelId="{133D0F7E-F571-48C2-95EB-BAAD570C8192}" type="presOf" srcId="{5B7FFFEC-ED3C-486C-87F3-C6DBEC6BE052}" destId="{69DA54A0-936A-4791-84A1-E655020E0A77}" srcOrd="0" destOrd="0" presId="urn:microsoft.com/office/officeart/2008/layout/HexagonCluster"/>
    <dgm:cxn modelId="{E46A15F1-7D98-4732-AF8D-203C43604705}" type="presOf" srcId="{F8636983-A3A4-42F2-8E6F-5352BAAE8C1B}" destId="{3CEF7893-6F14-461C-A20B-9FD26261CCFF}" srcOrd="0" destOrd="0" presId="urn:microsoft.com/office/officeart/2008/layout/HexagonCluster"/>
    <dgm:cxn modelId="{A0735FB6-32ED-4978-B0C2-88BD585557FE}" srcId="{48520F18-CA2B-4F89-8DD3-5B547A126C0E}" destId="{AF80E6C2-C780-4D27-B514-84A9F7B04F48}" srcOrd="1" destOrd="0" parTransId="{B999CF4D-6893-445F-808F-374AE8F6B0D5}" sibTransId="{1C49EEB1-AE83-4D3F-9ABF-82D22C198ADC}"/>
    <dgm:cxn modelId="{4BCE920B-0588-4256-9712-D63D8F27E437}" type="presOf" srcId="{67096553-3EE7-4FAA-8096-616CEF86496C}" destId="{6BB3EF5F-DAAB-4CED-8988-2361563EA20A}" srcOrd="0" destOrd="0" presId="urn:microsoft.com/office/officeart/2008/layout/HexagonCluster"/>
    <dgm:cxn modelId="{445B073A-947D-414E-9AA4-FAB525A1BA03}" type="presOf" srcId="{3B96DC0C-DCD9-4A52-8F20-B100E4C3CFF6}" destId="{65B48D45-4A88-4678-A65F-460679429ECB}" srcOrd="0" destOrd="0" presId="urn:microsoft.com/office/officeart/2008/layout/HexagonCluster"/>
    <dgm:cxn modelId="{BB756E6D-549D-49A0-8F18-D4EACE02733A}" type="presParOf" srcId="{A0A2B7E7-5584-49FE-9274-2A0F4C7F65E8}" destId="{BCB2FC02-AFA2-4FF0-AA68-C7C2BE9ED3B2}" srcOrd="0" destOrd="0" presId="urn:microsoft.com/office/officeart/2008/layout/HexagonCluster"/>
    <dgm:cxn modelId="{B3E86814-6AAB-4C89-9BF9-6A0568760C27}" type="presParOf" srcId="{BCB2FC02-AFA2-4FF0-AA68-C7C2BE9ED3B2}" destId="{6BB3EF5F-DAAB-4CED-8988-2361563EA20A}" srcOrd="0" destOrd="0" presId="urn:microsoft.com/office/officeart/2008/layout/HexagonCluster"/>
    <dgm:cxn modelId="{D9DBCE5D-0785-4910-9148-8C924258B096}" type="presParOf" srcId="{A0A2B7E7-5584-49FE-9274-2A0F4C7F65E8}" destId="{9301AF07-0F32-4C64-99BF-255D0120BF1A}" srcOrd="1" destOrd="0" presId="urn:microsoft.com/office/officeart/2008/layout/HexagonCluster"/>
    <dgm:cxn modelId="{D2D9C6E1-69D7-4860-84C3-D2D7FAC2A6FB}" type="presParOf" srcId="{9301AF07-0F32-4C64-99BF-255D0120BF1A}" destId="{E2903C39-6DBA-4F11-9769-EAA1246516B1}" srcOrd="0" destOrd="0" presId="urn:microsoft.com/office/officeart/2008/layout/HexagonCluster"/>
    <dgm:cxn modelId="{9A8144A7-B91C-4033-A056-7A83BDA4D4A5}" type="presParOf" srcId="{A0A2B7E7-5584-49FE-9274-2A0F4C7F65E8}" destId="{F85EB9EB-FB92-4393-89E1-98613B72AD32}" srcOrd="2" destOrd="0" presId="urn:microsoft.com/office/officeart/2008/layout/HexagonCluster"/>
    <dgm:cxn modelId="{D57F46C0-556F-48B0-BF75-FA84356505EA}" type="presParOf" srcId="{F85EB9EB-FB92-4393-89E1-98613B72AD32}" destId="{AF7F6A88-C10C-4004-947B-7018004295D2}" srcOrd="0" destOrd="0" presId="urn:microsoft.com/office/officeart/2008/layout/HexagonCluster"/>
    <dgm:cxn modelId="{F18B02BE-97B1-4C0E-BE91-AF6E5F1A1BAF}" type="presParOf" srcId="{A0A2B7E7-5584-49FE-9274-2A0F4C7F65E8}" destId="{DB77C336-97B5-490C-BD89-E042C0810045}" srcOrd="3" destOrd="0" presId="urn:microsoft.com/office/officeart/2008/layout/HexagonCluster"/>
    <dgm:cxn modelId="{F4154FFE-2744-4C7A-94E8-2868C8D1D3B7}" type="presParOf" srcId="{DB77C336-97B5-490C-BD89-E042C0810045}" destId="{C4948814-E24E-403F-9E6D-7C430E80ACFA}" srcOrd="0" destOrd="0" presId="urn:microsoft.com/office/officeart/2008/layout/HexagonCluster"/>
    <dgm:cxn modelId="{C86DD8AC-6F0B-4C49-9F16-99A523CFAEDC}" type="presParOf" srcId="{A0A2B7E7-5584-49FE-9274-2A0F4C7F65E8}" destId="{4247019B-BD1A-4503-8EE4-2CEF3F3EBAB1}" srcOrd="4" destOrd="0" presId="urn:microsoft.com/office/officeart/2008/layout/HexagonCluster"/>
    <dgm:cxn modelId="{EC80FE03-6E66-49C1-90E0-B7CA027DFBA6}" type="presParOf" srcId="{4247019B-BD1A-4503-8EE4-2CEF3F3EBAB1}" destId="{61CB2D57-FCD3-46D8-8408-F8AA379CF318}" srcOrd="0" destOrd="0" presId="urn:microsoft.com/office/officeart/2008/layout/HexagonCluster"/>
    <dgm:cxn modelId="{5008A4E3-7B22-4FFE-89A6-25C084A5BE66}" type="presParOf" srcId="{A0A2B7E7-5584-49FE-9274-2A0F4C7F65E8}" destId="{B535F883-9E00-449A-9ED2-D4AA05DD1273}" srcOrd="5" destOrd="0" presId="urn:microsoft.com/office/officeart/2008/layout/HexagonCluster"/>
    <dgm:cxn modelId="{3BC85E51-EDE3-4987-990E-F646945CCC6D}" type="presParOf" srcId="{B535F883-9E00-449A-9ED2-D4AA05DD1273}" destId="{83145C5D-7B67-473F-9156-A84AFC57B6BA}" srcOrd="0" destOrd="0" presId="urn:microsoft.com/office/officeart/2008/layout/HexagonCluster"/>
    <dgm:cxn modelId="{D336E984-5D6C-4525-9316-2D3922B91702}" type="presParOf" srcId="{A0A2B7E7-5584-49FE-9274-2A0F4C7F65E8}" destId="{EACF9DCE-25A1-4DC0-825D-E979EEC724F9}" srcOrd="6" destOrd="0" presId="urn:microsoft.com/office/officeart/2008/layout/HexagonCluster"/>
    <dgm:cxn modelId="{C487746F-FCFE-4AD0-86D9-C0402FFDE10C}" type="presParOf" srcId="{EACF9DCE-25A1-4DC0-825D-E979EEC724F9}" destId="{2F65FAF9-5214-4441-8C00-EF2F605E9A04}" srcOrd="0" destOrd="0" presId="urn:microsoft.com/office/officeart/2008/layout/HexagonCluster"/>
    <dgm:cxn modelId="{1609E26A-446B-4D95-B913-78737ADE1670}" type="presParOf" srcId="{A0A2B7E7-5584-49FE-9274-2A0F4C7F65E8}" destId="{6262C6A0-434F-4F0A-8327-0A1657CE9633}" srcOrd="7" destOrd="0" presId="urn:microsoft.com/office/officeart/2008/layout/HexagonCluster"/>
    <dgm:cxn modelId="{8A5FB14A-2570-4F24-A352-C24AE2CAFE85}" type="presParOf" srcId="{6262C6A0-434F-4F0A-8327-0A1657CE9633}" destId="{0A2C2075-AA94-486E-83EF-83827A565D2C}" srcOrd="0" destOrd="0" presId="urn:microsoft.com/office/officeart/2008/layout/HexagonCluster"/>
    <dgm:cxn modelId="{1E292EC3-ECF3-4341-BF74-E64B76292A74}" type="presParOf" srcId="{A0A2B7E7-5584-49FE-9274-2A0F4C7F65E8}" destId="{50FCD177-50EE-463A-B16E-B0CB58A96F04}" srcOrd="8" destOrd="0" presId="urn:microsoft.com/office/officeart/2008/layout/HexagonCluster"/>
    <dgm:cxn modelId="{51DEE23D-C9CA-40C6-9710-56227F26FC30}" type="presParOf" srcId="{50FCD177-50EE-463A-B16E-B0CB58A96F04}" destId="{0513D8D9-FF95-4926-BE86-E0B5F176A10A}" srcOrd="0" destOrd="0" presId="urn:microsoft.com/office/officeart/2008/layout/HexagonCluster"/>
    <dgm:cxn modelId="{5BD2D4E3-D352-4924-AAC3-C3F6FF73D39D}" type="presParOf" srcId="{A0A2B7E7-5584-49FE-9274-2A0F4C7F65E8}" destId="{A7F44B1E-5E8B-4BF9-B716-189A823363E5}" srcOrd="9" destOrd="0" presId="urn:microsoft.com/office/officeart/2008/layout/HexagonCluster"/>
    <dgm:cxn modelId="{D193CFF1-3054-4309-A181-16CBA9C790C9}" type="presParOf" srcId="{A7F44B1E-5E8B-4BF9-B716-189A823363E5}" destId="{2CD47FB7-6DA2-41E0-9DF5-83D56FF5EE00}" srcOrd="0" destOrd="0" presId="urn:microsoft.com/office/officeart/2008/layout/HexagonCluster"/>
    <dgm:cxn modelId="{6F424F53-8ADC-4E62-85F3-0601170BA3BB}" type="presParOf" srcId="{A0A2B7E7-5584-49FE-9274-2A0F4C7F65E8}" destId="{12735E5A-C6ED-40CD-B6C1-E675A787A124}" srcOrd="10" destOrd="0" presId="urn:microsoft.com/office/officeart/2008/layout/HexagonCluster"/>
    <dgm:cxn modelId="{7C41AB6B-0592-4C77-A11E-40639AB054A1}" type="presParOf" srcId="{12735E5A-C6ED-40CD-B6C1-E675A787A124}" destId="{470A1B63-884B-48F9-8B0B-73B782E4522D}" srcOrd="0" destOrd="0" presId="urn:microsoft.com/office/officeart/2008/layout/HexagonCluster"/>
    <dgm:cxn modelId="{26D10EBD-5BC9-4B77-B61C-ACCF72A175B6}" type="presParOf" srcId="{A0A2B7E7-5584-49FE-9274-2A0F4C7F65E8}" destId="{A08954EE-F93A-4752-A02E-EE6CDE31A846}" srcOrd="11" destOrd="0" presId="urn:microsoft.com/office/officeart/2008/layout/HexagonCluster"/>
    <dgm:cxn modelId="{597CAF07-DEC0-446F-B6A5-44708D73E328}" type="presParOf" srcId="{A08954EE-F93A-4752-A02E-EE6CDE31A846}" destId="{C510ACFD-2CBD-4EA8-BAF8-20D8D96E3F66}" srcOrd="0" destOrd="0" presId="urn:microsoft.com/office/officeart/2008/layout/HexagonCluster"/>
    <dgm:cxn modelId="{8EE1C202-C414-499C-A014-0D380B8FFFC6}" type="presParOf" srcId="{A0A2B7E7-5584-49FE-9274-2A0F4C7F65E8}" destId="{ED9A570B-FE88-4936-99CE-6A95E5373F02}" srcOrd="12" destOrd="0" presId="urn:microsoft.com/office/officeart/2008/layout/HexagonCluster"/>
    <dgm:cxn modelId="{802CF28C-0A07-4A91-A0B8-B5FB1429EF85}" type="presParOf" srcId="{ED9A570B-FE88-4936-99CE-6A95E5373F02}" destId="{A6300984-71C9-454C-B276-E314F08F4391}" srcOrd="0" destOrd="0" presId="urn:microsoft.com/office/officeart/2008/layout/HexagonCluster"/>
    <dgm:cxn modelId="{796E3AD3-F825-47AD-8785-393A49A83B8A}" type="presParOf" srcId="{A0A2B7E7-5584-49FE-9274-2A0F4C7F65E8}" destId="{C34F709D-AF77-4600-AF20-8FFA69C68AF0}" srcOrd="13" destOrd="0" presId="urn:microsoft.com/office/officeart/2008/layout/HexagonCluster"/>
    <dgm:cxn modelId="{DD9C9FB5-1370-49A9-87E4-2DCDCFB3A021}" type="presParOf" srcId="{C34F709D-AF77-4600-AF20-8FFA69C68AF0}" destId="{7287B24F-197A-4266-8DFE-0BEAC15F2E1A}" srcOrd="0" destOrd="0" presId="urn:microsoft.com/office/officeart/2008/layout/HexagonCluster"/>
    <dgm:cxn modelId="{1491BAD5-1F11-4C9B-AB34-CB347BCA9BBB}" type="presParOf" srcId="{A0A2B7E7-5584-49FE-9274-2A0F4C7F65E8}" destId="{653AC693-8E1D-41A4-A571-596BB399F1DB}" srcOrd="14" destOrd="0" presId="urn:microsoft.com/office/officeart/2008/layout/HexagonCluster"/>
    <dgm:cxn modelId="{4AF9B2DF-2098-4F00-991F-9FFA7174F374}" type="presParOf" srcId="{653AC693-8E1D-41A4-A571-596BB399F1DB}" destId="{69DA54A0-936A-4791-84A1-E655020E0A77}" srcOrd="0" destOrd="0" presId="urn:microsoft.com/office/officeart/2008/layout/HexagonCluster"/>
    <dgm:cxn modelId="{6CDB6323-CA06-4917-95FF-3B9ECD9CC6BA}" type="presParOf" srcId="{A0A2B7E7-5584-49FE-9274-2A0F4C7F65E8}" destId="{AAF8A484-DB7E-42A2-83A1-1A6EAF44F0DD}" srcOrd="15" destOrd="0" presId="urn:microsoft.com/office/officeart/2008/layout/HexagonCluster"/>
    <dgm:cxn modelId="{732F4E1B-85F9-4CAF-98E3-0E8CE26662FF}" type="presParOf" srcId="{AAF8A484-DB7E-42A2-83A1-1A6EAF44F0DD}" destId="{4AA35131-5D27-4CE3-AD34-9B5B326C40D7}" srcOrd="0" destOrd="0" presId="urn:microsoft.com/office/officeart/2008/layout/HexagonCluster"/>
    <dgm:cxn modelId="{AFF68B5C-B17E-4C4B-8929-90422B0C82A6}" type="presParOf" srcId="{A0A2B7E7-5584-49FE-9274-2A0F4C7F65E8}" destId="{24F32D13-66A7-4328-91F8-2E2402A15DCB}" srcOrd="16" destOrd="0" presId="urn:microsoft.com/office/officeart/2008/layout/HexagonCluster"/>
    <dgm:cxn modelId="{4CBA3CC9-2D9C-493E-B2E4-80EA84861137}" type="presParOf" srcId="{24F32D13-66A7-4328-91F8-2E2402A15DCB}" destId="{1FF0BEDA-604C-4982-8892-59380547E17F}" srcOrd="0" destOrd="0" presId="urn:microsoft.com/office/officeart/2008/layout/HexagonCluster"/>
    <dgm:cxn modelId="{2BFEDD65-409D-4C3A-9952-AAD6C8C1A469}" type="presParOf" srcId="{A0A2B7E7-5584-49FE-9274-2A0F4C7F65E8}" destId="{0F18C3F0-0BD2-4628-BB33-7FF5DCD3FD6B}" srcOrd="17" destOrd="0" presId="urn:microsoft.com/office/officeart/2008/layout/HexagonCluster"/>
    <dgm:cxn modelId="{6CA4A13D-1F23-426E-82AD-141E16A06485}" type="presParOf" srcId="{0F18C3F0-0BD2-4628-BB33-7FF5DCD3FD6B}" destId="{9CCFEBD2-7537-4A4C-A8A9-61C6F0D0A352}" srcOrd="0" destOrd="0" presId="urn:microsoft.com/office/officeart/2008/layout/HexagonCluster"/>
    <dgm:cxn modelId="{A04571D7-E474-4335-A035-6E3DD7CBFBB2}" type="presParOf" srcId="{A0A2B7E7-5584-49FE-9274-2A0F4C7F65E8}" destId="{936FC802-F8D4-4E36-BFBD-CC02E9E6EE60}" srcOrd="18" destOrd="0" presId="urn:microsoft.com/office/officeart/2008/layout/HexagonCluster"/>
    <dgm:cxn modelId="{0792D1D3-8909-48AB-9F0E-A242D6CCB9B4}" type="presParOf" srcId="{936FC802-F8D4-4E36-BFBD-CC02E9E6EE60}" destId="{05E43813-77A0-48A5-BBB2-829B14768F69}" srcOrd="0" destOrd="0" presId="urn:microsoft.com/office/officeart/2008/layout/HexagonCluster"/>
    <dgm:cxn modelId="{46C0C552-7F9F-4749-9263-1448A6BB3F5D}" type="presParOf" srcId="{A0A2B7E7-5584-49FE-9274-2A0F4C7F65E8}" destId="{B1CF729E-0AC1-4DF0-97FB-BBB469BAEB27}" srcOrd="19" destOrd="0" presId="urn:microsoft.com/office/officeart/2008/layout/HexagonCluster"/>
    <dgm:cxn modelId="{A9F296A5-17F1-49F9-9CE4-DADE2531A2FA}" type="presParOf" srcId="{B1CF729E-0AC1-4DF0-97FB-BBB469BAEB27}" destId="{12530278-086A-4998-B366-BAC28CB3EDF3}" srcOrd="0" destOrd="0" presId="urn:microsoft.com/office/officeart/2008/layout/HexagonCluster"/>
    <dgm:cxn modelId="{0FB2668A-0065-4788-98C1-2F93A8B27345}" type="presParOf" srcId="{A0A2B7E7-5584-49FE-9274-2A0F4C7F65E8}" destId="{DB16AE24-9ADA-43FB-8CF0-333A46226511}" srcOrd="20" destOrd="0" presId="urn:microsoft.com/office/officeart/2008/layout/HexagonCluster"/>
    <dgm:cxn modelId="{A1FDB4E6-CE37-4A1E-9842-92D2A9F305AE}" type="presParOf" srcId="{DB16AE24-9ADA-43FB-8CF0-333A46226511}" destId="{3CEF7893-6F14-461C-A20B-9FD26261CCFF}" srcOrd="0" destOrd="0" presId="urn:microsoft.com/office/officeart/2008/layout/HexagonCluster"/>
    <dgm:cxn modelId="{CAE1B56D-0584-4161-8BAA-78B547C4E2E2}" type="presParOf" srcId="{A0A2B7E7-5584-49FE-9274-2A0F4C7F65E8}" destId="{4E41CF68-0828-499A-A8CD-0DCEA623266D}" srcOrd="21" destOrd="0" presId="urn:microsoft.com/office/officeart/2008/layout/HexagonCluster"/>
    <dgm:cxn modelId="{131D6DE8-82F5-4680-8B87-06FE46538A24}" type="presParOf" srcId="{4E41CF68-0828-499A-A8CD-0DCEA623266D}" destId="{A760CE29-C976-4D67-AB25-AFE855C4E306}" srcOrd="0" destOrd="0" presId="urn:microsoft.com/office/officeart/2008/layout/HexagonCluster"/>
    <dgm:cxn modelId="{C01EEA71-04FE-4365-88C1-136188D31C61}" type="presParOf" srcId="{A0A2B7E7-5584-49FE-9274-2A0F4C7F65E8}" destId="{E2FB00F1-3CE3-4D2F-8807-0BC882C339FB}" srcOrd="22" destOrd="0" presId="urn:microsoft.com/office/officeart/2008/layout/HexagonCluster"/>
    <dgm:cxn modelId="{34CAF936-C382-4830-BCFF-406ADDCFD977}" type="presParOf" srcId="{E2FB00F1-3CE3-4D2F-8807-0BC882C339FB}" destId="{7D2CFC79-4AB0-4741-8EC7-19247224FF99}" srcOrd="0" destOrd="0" presId="urn:microsoft.com/office/officeart/2008/layout/HexagonCluster"/>
    <dgm:cxn modelId="{1A7E3405-1AF5-4B0E-BA57-DC785923AF3C}" type="presParOf" srcId="{A0A2B7E7-5584-49FE-9274-2A0F4C7F65E8}" destId="{F0787B40-35F6-4646-9341-0E4D379F0D84}" srcOrd="23" destOrd="0" presId="urn:microsoft.com/office/officeart/2008/layout/HexagonCluster"/>
    <dgm:cxn modelId="{7C654229-B610-4ABD-B7BB-2712127C0409}" type="presParOf" srcId="{F0787B40-35F6-4646-9341-0E4D379F0D84}" destId="{E8968252-36C0-49A9-9081-6BEAD42E9C86}" srcOrd="0" destOrd="0" presId="urn:microsoft.com/office/officeart/2008/layout/HexagonCluster"/>
    <dgm:cxn modelId="{10D8CA5D-2517-49D9-A549-9CA5F3CCB77D}" type="presParOf" srcId="{A0A2B7E7-5584-49FE-9274-2A0F4C7F65E8}" destId="{C416B6A6-DF21-4D68-9130-EA1DE852539E}" srcOrd="24" destOrd="0" presId="urn:microsoft.com/office/officeart/2008/layout/HexagonCluster"/>
    <dgm:cxn modelId="{4EBF0449-65B9-422C-A2CB-0A50E4340F8E}" type="presParOf" srcId="{C416B6A6-DF21-4D68-9130-EA1DE852539E}" destId="{D3A16B3D-DCF5-458E-9FC3-B7834544EAFB}" srcOrd="0" destOrd="0" presId="urn:microsoft.com/office/officeart/2008/layout/HexagonCluster"/>
    <dgm:cxn modelId="{648E13BC-7E2C-4CFB-A067-0595EF6092CA}" type="presParOf" srcId="{A0A2B7E7-5584-49FE-9274-2A0F4C7F65E8}" destId="{62B68E39-9298-49D4-98ED-6D73C9358984}" srcOrd="25" destOrd="0" presId="urn:microsoft.com/office/officeart/2008/layout/HexagonCluster"/>
    <dgm:cxn modelId="{504E2AD6-30BD-475B-B614-9BF154996180}" type="presParOf" srcId="{62B68E39-9298-49D4-98ED-6D73C9358984}" destId="{1C7E427D-87F0-4932-AF12-F57D15916997}" srcOrd="0" destOrd="0" presId="urn:microsoft.com/office/officeart/2008/layout/HexagonCluster"/>
    <dgm:cxn modelId="{E3BCD545-6BD0-4A22-9F52-764D4F1F26EF}" type="presParOf" srcId="{A0A2B7E7-5584-49FE-9274-2A0F4C7F65E8}" destId="{EEEC845B-EB9C-4311-9A90-1682BBF515C8}" srcOrd="26" destOrd="0" presId="urn:microsoft.com/office/officeart/2008/layout/HexagonCluster"/>
    <dgm:cxn modelId="{F8DFB52A-E4C7-4A57-9DA7-7A27BF39E051}" type="presParOf" srcId="{EEEC845B-EB9C-4311-9A90-1682BBF515C8}" destId="{65B48D45-4A88-4678-A65F-460679429ECB}" srcOrd="0" destOrd="0" presId="urn:microsoft.com/office/officeart/2008/layout/HexagonCluster"/>
    <dgm:cxn modelId="{089F4F90-BBC5-40B8-AAA2-A3CE3FEFDDDC}" type="presParOf" srcId="{A0A2B7E7-5584-49FE-9274-2A0F4C7F65E8}" destId="{8DA64A46-5919-492C-A65D-03140B26F687}" srcOrd="27" destOrd="0" presId="urn:microsoft.com/office/officeart/2008/layout/HexagonCluster"/>
    <dgm:cxn modelId="{8BAEC06D-61D3-4DA8-A8D4-BC7589709E82}" type="presParOf" srcId="{8DA64A46-5919-492C-A65D-03140B26F687}" destId="{5F4ABA6B-4EF6-4725-AD55-90973C2BB046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B3EF5F-DAAB-4CED-8988-2361563EA20A}">
      <dsp:nvSpPr>
        <dsp:cNvPr id="0" name=""/>
        <dsp:cNvSpPr/>
      </dsp:nvSpPr>
      <dsp:spPr>
        <a:xfrm>
          <a:off x="1547710" y="2094761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ktívna účasť 2 redaktorov </a:t>
          </a:r>
          <a:r>
            <a:rPr lang="sk-SK" sz="1175" b="1" kern="1200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pravodajstva</a:t>
          </a:r>
          <a:r>
            <a:rPr lang="sk-SK" sz="1200" b="1" kern="1200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 v pelotóne  prvej etapy jazdy</a:t>
          </a:r>
          <a:endParaRPr lang="de-DE" sz="1200" b="1" kern="1200" cap="none" spc="0">
            <a:ln w="0"/>
            <a:solidFill>
              <a:schemeClr val="bg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endParaRPr>
        </a:p>
      </dsp:txBody>
      <dsp:txXfrm>
        <a:off x="1775127" y="2290038"/>
        <a:ext cx="1013421" cy="870199"/>
      </dsp:txXfrm>
    </dsp:sp>
    <dsp:sp modelId="{E2903C39-6DBA-4F11-9769-EAA1246516B1}">
      <dsp:nvSpPr>
        <dsp:cNvPr id="0" name=""/>
        <dsp:cNvSpPr/>
      </dsp:nvSpPr>
      <dsp:spPr>
        <a:xfrm>
          <a:off x="1582742" y="2658370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7F6A88-C10C-4004-947B-7018004295D2}">
      <dsp:nvSpPr>
        <dsp:cNvPr id="0" name=""/>
        <dsp:cNvSpPr/>
      </dsp:nvSpPr>
      <dsp:spPr>
        <a:xfrm>
          <a:off x="284201" y="1397616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/>
          <a:srcRect/>
          <a:stretch>
            <a:fillRect l="-14000" r="-14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948814-E24E-403F-9E6D-7C430E80ACFA}">
      <dsp:nvSpPr>
        <dsp:cNvPr id="0" name=""/>
        <dsp:cNvSpPr/>
      </dsp:nvSpPr>
      <dsp:spPr>
        <a:xfrm>
          <a:off x="1290026" y="2491093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CB2D57-FCD3-46D8-8408-F8AA379CF318}">
      <dsp:nvSpPr>
        <dsp:cNvPr id="0" name=""/>
        <dsp:cNvSpPr/>
      </dsp:nvSpPr>
      <dsp:spPr>
        <a:xfrm>
          <a:off x="2811219" y="1393814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Diskusia na tému bezpečnosť a tolerancia na cestách</a:t>
          </a:r>
        </a:p>
      </dsp:txBody>
      <dsp:txXfrm>
        <a:off x="3038636" y="1589091"/>
        <a:ext cx="1013421" cy="870199"/>
      </dsp:txXfrm>
    </dsp:sp>
    <dsp:sp modelId="{83145C5D-7B67-473F-9156-A84AFC57B6BA}">
      <dsp:nvSpPr>
        <dsp:cNvPr id="0" name=""/>
        <dsp:cNvSpPr/>
      </dsp:nvSpPr>
      <dsp:spPr>
        <a:xfrm>
          <a:off x="3821715" y="2484440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65FAF9-5214-4441-8C00-EF2F605E9A04}">
      <dsp:nvSpPr>
        <dsp:cNvPr id="0" name=""/>
        <dsp:cNvSpPr/>
      </dsp:nvSpPr>
      <dsp:spPr>
        <a:xfrm>
          <a:off x="4076607" y="2091910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2"/>
          <a:srcRect/>
          <a:stretch>
            <a:fillRect t="-20000" b="-20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2C2075-AA94-486E-83EF-83827A565D2C}">
      <dsp:nvSpPr>
        <dsp:cNvPr id="0" name=""/>
        <dsp:cNvSpPr/>
      </dsp:nvSpPr>
      <dsp:spPr>
        <a:xfrm>
          <a:off x="4109761" y="2653142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13D8D9-FF95-4926-BE86-E0B5F176A10A}">
      <dsp:nvSpPr>
        <dsp:cNvPr id="0" name=""/>
        <dsp:cNvSpPr/>
      </dsp:nvSpPr>
      <dsp:spPr>
        <a:xfrm>
          <a:off x="1547710" y="700946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Continental:  generálny partner podujatia OSA Naprieč Slovenskom </a:t>
          </a:r>
        </a:p>
      </dsp:txBody>
      <dsp:txXfrm>
        <a:off x="1775127" y="896223"/>
        <a:ext cx="1013421" cy="870199"/>
      </dsp:txXfrm>
    </dsp:sp>
    <dsp:sp modelId="{2CD47FB7-6DA2-41E0-9DF5-83D56FF5EE00}">
      <dsp:nvSpPr>
        <dsp:cNvPr id="0" name=""/>
        <dsp:cNvSpPr/>
      </dsp:nvSpPr>
      <dsp:spPr>
        <a:xfrm>
          <a:off x="2547307" y="718054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0A1B63-884B-48F9-8B0B-73B782E4522D}">
      <dsp:nvSpPr>
        <dsp:cNvPr id="0" name=""/>
        <dsp:cNvSpPr/>
      </dsp:nvSpPr>
      <dsp:spPr>
        <a:xfrm>
          <a:off x="2811219" y="0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000" r="-4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10ACFD-2CBD-4EA8-BAF8-20D8D96E3F66}">
      <dsp:nvSpPr>
        <dsp:cNvPr id="0" name=""/>
        <dsp:cNvSpPr/>
      </dsp:nvSpPr>
      <dsp:spPr>
        <a:xfrm>
          <a:off x="2852480" y="558381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300984-71C9-454C-B276-E314F08F4391}">
      <dsp:nvSpPr>
        <dsp:cNvPr id="0" name=""/>
        <dsp:cNvSpPr/>
      </dsp:nvSpPr>
      <dsp:spPr>
        <a:xfrm>
          <a:off x="4073950" y="698095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Aktívna komunikácia s novinármi</a:t>
          </a:r>
        </a:p>
      </dsp:txBody>
      <dsp:txXfrm>
        <a:off x="4301367" y="893372"/>
        <a:ext cx="1013421" cy="870199"/>
      </dsp:txXfrm>
    </dsp:sp>
    <dsp:sp modelId="{7287B24F-197A-4266-8DFE-0BEAC15F2E1A}">
      <dsp:nvSpPr>
        <dsp:cNvPr id="0" name=""/>
        <dsp:cNvSpPr/>
      </dsp:nvSpPr>
      <dsp:spPr>
        <a:xfrm>
          <a:off x="5344465" y="1256951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DA54A0-936A-4791-84A1-E655020E0A77}">
      <dsp:nvSpPr>
        <dsp:cNvPr id="0" name=""/>
        <dsp:cNvSpPr/>
      </dsp:nvSpPr>
      <dsp:spPr>
        <a:xfrm>
          <a:off x="5337459" y="1407120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4"/>
          <a:srcRect/>
          <a:stretch>
            <a:fillRect t="-8000" b="-8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A35131-5D27-4CE3-AD34-9B5B326C40D7}">
      <dsp:nvSpPr>
        <dsp:cNvPr id="0" name=""/>
        <dsp:cNvSpPr/>
      </dsp:nvSpPr>
      <dsp:spPr>
        <a:xfrm>
          <a:off x="5623948" y="1429456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F0BEDA-604C-4982-8892-59380547E17F}">
      <dsp:nvSpPr>
        <dsp:cNvPr id="0" name=""/>
        <dsp:cNvSpPr/>
      </dsp:nvSpPr>
      <dsp:spPr>
        <a:xfrm>
          <a:off x="5337459" y="13306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Streamovanie diskusie na Facebooku podujatia Naprieč Slovenskom</a:t>
          </a:r>
        </a:p>
      </dsp:txBody>
      <dsp:txXfrm>
        <a:off x="5564876" y="208583"/>
        <a:ext cx="1013421" cy="870199"/>
      </dsp:txXfrm>
    </dsp:sp>
    <dsp:sp modelId="{9CCFEBD2-7537-4A4C-A8A9-61C6F0D0A352}">
      <dsp:nvSpPr>
        <dsp:cNvPr id="0" name=""/>
        <dsp:cNvSpPr/>
      </dsp:nvSpPr>
      <dsp:spPr>
        <a:xfrm>
          <a:off x="6607975" y="578340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E43813-77A0-48A5-BBB2-829B14768F69}">
      <dsp:nvSpPr>
        <dsp:cNvPr id="0" name=""/>
        <dsp:cNvSpPr/>
      </dsp:nvSpPr>
      <dsp:spPr>
        <a:xfrm>
          <a:off x="6600968" y="716628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5"/>
          <a:srcRect/>
          <a:stretch>
            <a:fillRect l="-25000" r="-25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530278-086A-4998-B366-BAC28CB3EDF3}">
      <dsp:nvSpPr>
        <dsp:cNvPr id="0" name=""/>
        <dsp:cNvSpPr/>
      </dsp:nvSpPr>
      <dsp:spPr>
        <a:xfrm>
          <a:off x="6893685" y="744666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EF7893-6F14-461C-A20B-9FD26261CCFF}">
      <dsp:nvSpPr>
        <dsp:cNvPr id="0" name=""/>
        <dsp:cNvSpPr/>
      </dsp:nvSpPr>
      <dsp:spPr>
        <a:xfrm>
          <a:off x="6600968" y="2108067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 noProof="0" err="1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Cross-posting</a:t>
          </a:r>
          <a:r>
            <a:rPr lang="sk-SK" sz="1200" b="1" kern="1200" cap="none" spc="0" noProof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 streamu diskusie relevantnými médiami</a:t>
          </a:r>
        </a:p>
      </dsp:txBody>
      <dsp:txXfrm>
        <a:off x="6828385" y="2303344"/>
        <a:ext cx="1013421" cy="870199"/>
      </dsp:txXfrm>
    </dsp:sp>
    <dsp:sp modelId="{A760CE29-C976-4D67-AB25-AFE855C4E306}">
      <dsp:nvSpPr>
        <dsp:cNvPr id="0" name=""/>
        <dsp:cNvSpPr/>
      </dsp:nvSpPr>
      <dsp:spPr>
        <a:xfrm>
          <a:off x="6892128" y="3212474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CFC79-4AB0-4741-8EC7-19247224FF99}">
      <dsp:nvSpPr>
        <dsp:cNvPr id="0" name=""/>
        <dsp:cNvSpPr/>
      </dsp:nvSpPr>
      <dsp:spPr>
        <a:xfrm>
          <a:off x="5337459" y="2798559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6"/>
          <a:srcRect/>
          <a:stretch>
            <a:fillRect t="-8000" b="-8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968252-36C0-49A9-9081-6BEAD42E9C86}">
      <dsp:nvSpPr>
        <dsp:cNvPr id="0" name=""/>
        <dsp:cNvSpPr/>
      </dsp:nvSpPr>
      <dsp:spPr>
        <a:xfrm>
          <a:off x="6619652" y="3351713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A16B3D-DCF5-458E-9FC3-B7834544EAFB}">
      <dsp:nvSpPr>
        <dsp:cNvPr id="0" name=""/>
        <dsp:cNvSpPr/>
      </dsp:nvSpPr>
      <dsp:spPr>
        <a:xfrm>
          <a:off x="2809662" y="2790480"/>
          <a:ext cx="1468255" cy="126075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k-SK" sz="1200" b="1" kern="1200" cap="none" spc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rPr>
            <a:t>Tlačová správa</a:t>
          </a:r>
        </a:p>
      </dsp:txBody>
      <dsp:txXfrm>
        <a:off x="3037079" y="2985757"/>
        <a:ext cx="1013421" cy="870199"/>
      </dsp:txXfrm>
    </dsp:sp>
    <dsp:sp modelId="{1C7E427D-87F0-4932-AF12-F57D15916997}">
      <dsp:nvSpPr>
        <dsp:cNvPr id="0" name=""/>
        <dsp:cNvSpPr/>
      </dsp:nvSpPr>
      <dsp:spPr>
        <a:xfrm>
          <a:off x="2851701" y="3349337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B48D45-4A88-4678-A65F-460679429ECB}">
      <dsp:nvSpPr>
        <dsp:cNvPr id="0" name=""/>
        <dsp:cNvSpPr/>
      </dsp:nvSpPr>
      <dsp:spPr>
        <a:xfrm>
          <a:off x="1546931" y="3491427"/>
          <a:ext cx="1468255" cy="1260753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7"/>
          <a:srcRect/>
          <a:stretch>
            <a:fillRect l="-1000" r="-1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F4ABA6B-4EF6-4725-AD55-90973C2BB046}">
      <dsp:nvSpPr>
        <dsp:cNvPr id="0" name=""/>
        <dsp:cNvSpPr/>
      </dsp:nvSpPr>
      <dsp:spPr>
        <a:xfrm>
          <a:off x="2545750" y="3509010"/>
          <a:ext cx="171270" cy="147792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7C85C1-FEA4-4BB3-BBA7-161371DAFFE4}" type="datetimeFigureOut">
              <a:rPr lang="de-DE" smtClean="0"/>
              <a:pPr/>
              <a:t>16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2A7265-7A74-4F65-A036-6F4F3CD3233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4666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44748-CA2E-4CCE-AA3F-47A4E55A18B7}" type="slidenum">
              <a:rPr lang="sk-SK" smtClean="0"/>
              <a:pPr/>
              <a:t>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93610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01144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90711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72982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708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16039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54002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18364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9381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9710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0434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0903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32436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17193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9092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0732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435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5484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885828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7349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95275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5817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18075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238083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35199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92271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4269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05480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7555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5206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2782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8043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k-SK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2A7265-7A74-4F65-A036-6F4F3CD32331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269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err="1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decken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Sie</a:t>
            </a:r>
            <a:r>
              <a:rPr lang="en-US" sz="1600" baseline="0" noProof="0">
                <a:solidFill>
                  <a:schemeClr val="bg1"/>
                </a:solidFill>
              </a:rPr>
              <a:t> die </a:t>
            </a:r>
            <a:r>
              <a:rPr lang="en-US" sz="1600" baseline="0" noProof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Fläch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mit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einem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Bild</a:t>
            </a:r>
            <a:r>
              <a:rPr lang="en-US" sz="1600" baseline="0" noProof="0">
                <a:solidFill>
                  <a:schemeClr val="bg1"/>
                </a:solidFill>
              </a:rPr>
              <a:t>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1,0 cm)</a:t>
            </a: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1" descr="D:\vlajka2.jpg"/>
          <p:cNvPicPr>
            <a:picLocks noChangeAspect="1" noChangeArrowheads="1"/>
          </p:cNvPicPr>
          <p:nvPr userDrawn="1"/>
        </p:nvPicPr>
        <p:blipFill>
          <a:blip r:embed="rId2" cstate="print">
            <a:lum bright="-39000" contrast="-62000"/>
          </a:blip>
          <a:srcRect/>
          <a:stretch>
            <a:fillRect/>
          </a:stretch>
        </p:blipFill>
        <p:spPr bwMode="auto">
          <a:xfrm>
            <a:off x="163902" y="188913"/>
            <a:ext cx="8800709" cy="3960811"/>
          </a:xfrm>
          <a:prstGeom prst="rect">
            <a:avLst/>
          </a:prstGeom>
          <a:noFill/>
        </p:spPr>
      </p:pic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s Quality Seal hat </a:t>
            </a:r>
            <a:r>
              <a:rPr lang="en-US" noProof="0" err="1"/>
              <a:t>im</a:t>
            </a:r>
            <a:r>
              <a:rPr lang="en-US" noProof="0"/>
              <a:t> </a:t>
            </a:r>
            <a:r>
              <a:rPr lang="en-US" noProof="0" err="1"/>
              <a:t>Vordergrund</a:t>
            </a:r>
            <a:r>
              <a:rPr lang="en-US" noProof="0"/>
              <a:t> </a:t>
            </a:r>
            <a:r>
              <a:rPr lang="en-US" noProof="0" err="1"/>
              <a:t>zu</a:t>
            </a:r>
            <a:r>
              <a:rPr lang="en-US" noProof="0"/>
              <a:t> </a:t>
            </a:r>
            <a:r>
              <a:rPr lang="en-US" noProof="0" err="1"/>
              <a:t>stehen</a:t>
            </a:r>
            <a:r>
              <a:rPr lang="en-US" noProof="0"/>
              <a:t>.</a:t>
            </a:r>
            <a:br>
              <a:rPr lang="en-US" noProof="0"/>
            </a:br>
            <a:r>
              <a:rPr lang="en-US" noProof="0" err="1"/>
              <a:t>Bitte</a:t>
            </a:r>
            <a:r>
              <a:rPr lang="en-US" noProof="0"/>
              <a:t> </a:t>
            </a:r>
            <a:r>
              <a:rPr lang="en-US" noProof="0" err="1"/>
              <a:t>ändern</a:t>
            </a:r>
            <a:r>
              <a:rPr lang="en-US" noProof="0"/>
              <a:t> </a:t>
            </a:r>
            <a:r>
              <a:rPr lang="en-US" noProof="0" err="1"/>
              <a:t>Sie</a:t>
            </a:r>
            <a:r>
              <a:rPr lang="en-US" noProof="0"/>
              <a:t> </a:t>
            </a:r>
            <a:r>
              <a:rPr lang="en-US" noProof="0" err="1"/>
              <a:t>nicht</a:t>
            </a:r>
            <a:r>
              <a:rPr lang="en-US" noProof="0"/>
              <a:t> die </a:t>
            </a:r>
            <a:r>
              <a:rPr lang="en-US" noProof="0" err="1"/>
              <a:t>Größe</a:t>
            </a:r>
            <a:r>
              <a:rPr lang="en-US" noProof="0"/>
              <a:t> </a:t>
            </a:r>
            <a:r>
              <a:rPr lang="en-US" noProof="0" err="1"/>
              <a:t>oder</a:t>
            </a:r>
            <a:r>
              <a:rPr lang="en-US" noProof="0"/>
              <a:t>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777348A-AFC0-496C-95CF-ACDC67DE5AFC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BEAEA0C-6B20-4902-BADE-022A54DDCA46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C111BFE-F605-4FCE-BB2F-84A4964822E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DA831CA-2B7F-4681-9DF5-D158D63EC8A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durch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EA82C11-0517-46CD-A211-2129213ACCB0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F84BA-EC50-41A5-8191-E610E1142F3D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CEF95A-60B5-4B43-91A1-56956CA19AF8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  <p:grpSp>
        <p:nvGrpSpPr>
          <p:cNvPr id="2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62A779-AA84-4AB3-B61F-AAF1209AA1DD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47264D-5C61-476F-AF4A-FCFA1035889D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6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91" y="260354"/>
            <a:ext cx="8785226" cy="364913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7" tIns="45714" rIns="91427" bIns="479936" rtlCol="0" anchor="b" anchorCtr="0"/>
          <a:lstStyle/>
          <a:p>
            <a:pPr algn="ctr"/>
            <a:r>
              <a:rPr lang="en-US" sz="2100" err="1">
                <a:solidFill>
                  <a:srgbClr val="FFFFFF"/>
                </a:solidFill>
              </a:rPr>
              <a:t>Bitte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decken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Sie</a:t>
            </a:r>
            <a:r>
              <a:rPr lang="en-US" sz="2100">
                <a:solidFill>
                  <a:srgbClr val="FFFFFF"/>
                </a:solidFill>
              </a:rPr>
              <a:t> die </a:t>
            </a:r>
            <a:r>
              <a:rPr lang="en-US" sz="2100" err="1">
                <a:solidFill>
                  <a:srgbClr val="FFFFFF"/>
                </a:solidFill>
              </a:rPr>
              <a:t>schraffierte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Fläche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mit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einem</a:t>
            </a:r>
            <a:r>
              <a:rPr lang="en-US" sz="2100">
                <a:solidFill>
                  <a:srgbClr val="FFFFFF"/>
                </a:solidFill>
              </a:rPr>
              <a:t> </a:t>
            </a:r>
            <a:r>
              <a:rPr lang="en-US" sz="2100" err="1">
                <a:solidFill>
                  <a:srgbClr val="FFFFFF"/>
                </a:solidFill>
              </a:rPr>
              <a:t>Bild</a:t>
            </a:r>
            <a:r>
              <a:rPr lang="en-US" sz="2100">
                <a:solidFill>
                  <a:srgbClr val="FFFFFF"/>
                </a:solidFill>
              </a:rPr>
              <a:t> ab.</a:t>
            </a:r>
          </a:p>
          <a:p>
            <a:pPr algn="ctr"/>
            <a:r>
              <a:rPr lang="en-US" sz="2100">
                <a:solidFill>
                  <a:srgbClr val="FFFFFF"/>
                </a:solidFill>
              </a:rPr>
              <a:t>Please cover the shaded area with a picture.</a:t>
            </a:r>
          </a:p>
          <a:p>
            <a:pPr algn="ctr"/>
            <a:r>
              <a:rPr lang="en-US" sz="2100">
                <a:solidFill>
                  <a:srgbClr val="FFFFFF"/>
                </a:solidFill>
              </a:rPr>
              <a:t>(24,4 x 7,6 cm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55" y="4149080"/>
            <a:ext cx="8172141" cy="556800"/>
          </a:xfrm>
        </p:spPr>
        <p:txBody>
          <a:bodyPr tIns="0" rIns="0" bIns="0" anchor="t" anchorCtr="0">
            <a:no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51" y="4609881"/>
            <a:ext cx="8172140" cy="1123376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609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err="1"/>
              <a:t>Formatvorlage</a:t>
            </a:r>
            <a:r>
              <a:rPr lang="en-US" noProof="0"/>
              <a:t> des </a:t>
            </a:r>
            <a:r>
              <a:rPr lang="en-US" noProof="0" err="1"/>
              <a:t>Untertitelmasters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56" y="5733256"/>
            <a:ext cx="2628591" cy="4896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4" y="5733256"/>
            <a:ext cx="5075798" cy="4896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8"/>
            <a:ext cx="9144000" cy="68580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00">
                <a:solidFill>
                  <a:srgbClr val="EBEBEB">
                    <a:lumMod val="10000"/>
                  </a:srgb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100">
                <a:solidFill>
                  <a:srgbClr val="EBEBEB">
                    <a:lumMod val="10000"/>
                  </a:srgb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48" y="5"/>
            <a:ext cx="2556593" cy="1747199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1100"/>
            </a:lvl1pPr>
          </a:lstStyle>
          <a:p>
            <a:pPr lvl="0"/>
            <a:r>
              <a:rPr lang="en-US" noProof="0"/>
              <a:t>Das Quality Seal hat im Vordergrund zu stehen.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9" y="-567403"/>
            <a:ext cx="8640452" cy="48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987" tIns="62391" rIns="95987" bIns="62391" rtlCol="0" anchor="t" anchorCtr="0"/>
          <a:lstStyle/>
          <a:p>
            <a:r>
              <a:rPr lang="en-US" sz="1200" err="1">
                <a:solidFill>
                  <a:srgbClr val="000000"/>
                </a:solidFill>
              </a:rPr>
              <a:t>Wenn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Sie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ein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neues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Bild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einfügen</a:t>
            </a:r>
            <a:r>
              <a:rPr lang="en-US" sz="1200">
                <a:solidFill>
                  <a:srgbClr val="000000"/>
                </a:solidFill>
              </a:rPr>
              <a:t>: </a:t>
            </a:r>
            <a:r>
              <a:rPr lang="en-US" sz="1200" err="1">
                <a:solidFill>
                  <a:srgbClr val="000000"/>
                </a:solidFill>
              </a:rPr>
              <a:t>Klicken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Sie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mit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der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rechten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Maustaste</a:t>
            </a:r>
            <a:r>
              <a:rPr lang="en-US" sz="1200">
                <a:solidFill>
                  <a:srgbClr val="000000"/>
                </a:solidFill>
              </a:rPr>
              <a:t> auf das </a:t>
            </a:r>
            <a:r>
              <a:rPr lang="en-US" sz="1200" err="1">
                <a:solidFill>
                  <a:srgbClr val="000000"/>
                </a:solidFill>
              </a:rPr>
              <a:t>Bild</a:t>
            </a:r>
            <a:r>
              <a:rPr lang="en-US" sz="1200">
                <a:solidFill>
                  <a:srgbClr val="000000"/>
                </a:solidFill>
              </a:rPr>
              <a:t> und </a:t>
            </a:r>
            <a:r>
              <a:rPr lang="en-US" sz="1200" err="1">
                <a:solidFill>
                  <a:srgbClr val="000000"/>
                </a:solidFill>
              </a:rPr>
              <a:t>wählen</a:t>
            </a:r>
            <a:r>
              <a:rPr lang="en-US" sz="1200">
                <a:solidFill>
                  <a:srgbClr val="000000"/>
                </a:solidFill>
              </a:rPr>
              <a:t> „In den </a:t>
            </a:r>
            <a:r>
              <a:rPr lang="en-US" sz="1200" err="1">
                <a:solidFill>
                  <a:srgbClr val="000000"/>
                </a:solidFill>
              </a:rPr>
              <a:t>Hintergrund</a:t>
            </a:r>
            <a:r>
              <a:rPr lang="en-US" sz="1200">
                <a:solidFill>
                  <a:srgbClr val="000000"/>
                </a:solidFill>
              </a:rPr>
              <a:t>“, um das </a:t>
            </a:r>
            <a:r>
              <a:rPr lang="en-US" sz="1200" err="1">
                <a:solidFill>
                  <a:srgbClr val="000000"/>
                </a:solidFill>
              </a:rPr>
              <a:t>Bild</a:t>
            </a:r>
            <a:r>
              <a:rPr lang="en-US" sz="1200">
                <a:solidFill>
                  <a:srgbClr val="000000"/>
                </a:solidFill>
              </a:rPr>
              <a:t> hinter das Quality Seal </a:t>
            </a:r>
            <a:r>
              <a:rPr lang="en-US" sz="1200" err="1">
                <a:solidFill>
                  <a:srgbClr val="000000"/>
                </a:solidFill>
              </a:rPr>
              <a:t>zu</a:t>
            </a:r>
            <a:r>
              <a:rPr lang="en-US" sz="1200">
                <a:solidFill>
                  <a:srgbClr val="000000"/>
                </a:solidFill>
              </a:rPr>
              <a:t> </a:t>
            </a:r>
            <a:r>
              <a:rPr lang="en-US" sz="1200" err="1">
                <a:solidFill>
                  <a:srgbClr val="000000"/>
                </a:solidFill>
              </a:rPr>
              <a:t>bringen</a:t>
            </a:r>
            <a:r>
              <a:rPr lang="en-US" sz="1200">
                <a:solidFill>
                  <a:srgbClr val="000000"/>
                </a:solidFill>
              </a:rPr>
              <a:t>.</a:t>
            </a:r>
          </a:p>
          <a:p>
            <a:r>
              <a:rPr lang="en-US" sz="1200">
                <a:solidFill>
                  <a:srgbClr val="000000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71398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71398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1" y="168028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19176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err="1">
                <a:solidFill>
                  <a:schemeClr val="bg1"/>
                </a:solidFill>
              </a:rPr>
              <a:t>Bit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decken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Sie</a:t>
            </a:r>
            <a:r>
              <a:rPr lang="en-US" sz="1600" baseline="0" noProof="0">
                <a:solidFill>
                  <a:schemeClr val="bg1"/>
                </a:solidFill>
              </a:rPr>
              <a:t> die </a:t>
            </a:r>
            <a:r>
              <a:rPr lang="en-US" sz="1600" baseline="0" noProof="0" err="1">
                <a:solidFill>
                  <a:schemeClr val="bg1"/>
                </a:solidFill>
              </a:rPr>
              <a:t>schraffiert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Fläche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mit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einem</a:t>
            </a:r>
            <a:r>
              <a:rPr lang="en-US" sz="1600" baseline="0" noProof="0">
                <a:solidFill>
                  <a:schemeClr val="bg1"/>
                </a:solidFill>
              </a:rPr>
              <a:t> </a:t>
            </a:r>
            <a:r>
              <a:rPr lang="en-US" sz="1600" baseline="0" noProof="0" err="1">
                <a:solidFill>
                  <a:schemeClr val="bg1"/>
                </a:solidFill>
              </a:rPr>
              <a:t>Bild</a:t>
            </a:r>
            <a:r>
              <a:rPr lang="en-US" sz="1600" baseline="0" noProof="0">
                <a:solidFill>
                  <a:schemeClr val="bg1"/>
                </a:solidFill>
              </a:rPr>
              <a:t> ab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Please cover</a:t>
            </a:r>
            <a:r>
              <a:rPr lang="en-US" sz="1600" baseline="0" noProof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>
                <a:solidFill>
                  <a:schemeClr val="bg1"/>
                </a:solidFill>
              </a:rPr>
              <a:t>(24,4 x 18,0 cm)</a:t>
            </a: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Formatvorlage des Untertitelmasters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URL</a:t>
            </a:r>
          </a:p>
          <a:p>
            <a:pPr lvl="0"/>
            <a:endParaRPr lang="en-US" noProof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ivision Naming</a:t>
            </a:r>
          </a:p>
          <a:p>
            <a:pPr lvl="0"/>
            <a:endParaRPr lang="en-US" noProof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Das Quality Seal hat im Vordergrund zu stehen. </a:t>
            </a:r>
            <a:br>
              <a:rPr lang="en-US" noProof="0"/>
            </a:br>
            <a:r>
              <a:rPr lang="en-US" noProof="0"/>
              <a:t>Bitte ändern Sie nicht die Größe oder Position.</a:t>
            </a:r>
            <a:br>
              <a:rPr lang="en-US" noProof="0"/>
            </a:br>
            <a:r>
              <a:rPr lang="en-US" noProof="0"/>
              <a:t>The Quality Seal has to stay on top. </a:t>
            </a:r>
            <a:br>
              <a:rPr lang="en-US" noProof="0"/>
            </a:br>
            <a:r>
              <a:rPr lang="en-US" noProof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9B275C-1349-456C-B576-749812E1A37D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Confidential</a:t>
            </a:r>
          </a:p>
        </p:txBody>
      </p:sp>
      <p:sp>
        <p:nvSpPr>
          <p:cNvPr id="18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Space for Sender Information</a:t>
            </a:r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60648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763406-5C82-43FA-B963-AEA720ABB55B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B79644-7052-4321-A27A-5793B505EB52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bg1"/>
                </a:solidFill>
                <a:latin typeface="+mn-lt"/>
              </a:rPr>
              <a:t>Confidential</a:t>
            </a:r>
          </a:p>
        </p:txBody>
      </p:sp>
      <p:sp>
        <p:nvSpPr>
          <p:cNvPr id="14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bg1"/>
                </a:solidFill>
                <a:latin typeface="+mn-lt"/>
              </a:rPr>
              <a:t>Space for Sender Information</a:t>
            </a:r>
          </a:p>
        </p:txBody>
      </p: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FED7BD9-814B-48AD-8AE6-6C4E2329D58D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6828BB-7C2D-4106-92EC-3D0A84EFB8A8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4453;MIO_UPDATE=True;MIO_VERSION=17.07.2013 14:02:3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/>
              <a:t>Textmasterformate durch Klicken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7659EBB4-4D77-44F1-AD2A-E02F8088A53A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Passenger and Light Truck Tyres</a:t>
            </a:r>
          </a:p>
          <a:p>
            <a:pPr algn="l" defTabSz="895888"/>
            <a:r>
              <a:rPr lang="en-US" sz="700" b="1" noProof="0">
                <a:solidFill>
                  <a:schemeClr val="tx1"/>
                </a:solidFill>
                <a:latin typeface="+mn-lt"/>
              </a:rPr>
              <a:t>EMEA Replacement</a:t>
            </a:r>
          </a:p>
        </p:txBody>
      </p:sp>
      <p:sp>
        <p:nvSpPr>
          <p:cNvPr id="4" name="Ellipse 3" hidden="1"/>
          <p:cNvSpPr/>
          <p:nvPr userDrawn="1">
            <p:custDataLst>
              <p:tags r:id="rId23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9" r:id="rId19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hyperlink" Target="http://www.benzin.sk/index.php?selected_id=97&amp;article_id=14491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eg"/><Relationship Id="rId4" Type="http://schemas.openxmlformats.org/officeDocument/2006/relationships/hyperlink" Target="https://www.milliardcity.com/napriec-slovenskom-prejdu-cyklisti-100-slovenskych-miest-a-650-km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hyperlink" Target="https://kamdomesta.sk/zilinsky-kraj/napriec-slovenskom-spolu-ohladuplne-a-bezpecne-na-2-aj-4-kolesach-diskusia_12521220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5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hyperlink" Target="https://trnavske.radio/20220817-1804/" TargetMode="Externa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hyperlink" Target="https://fb.watch/f57UKkbgIy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8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1.w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5.wmf"/><Relationship Id="rId5" Type="http://schemas.openxmlformats.org/officeDocument/2006/relationships/oleObject" Target="../embeddings/oleObject4.bin"/><Relationship Id="rId4" Type="http://schemas.openxmlformats.org/officeDocument/2006/relationships/hyperlink" Target="https://www.noviny.sk/slovensko/701568-bezpecnost-cyklistov-na-cestach-ma-uz-v-marci-zarucit-novy-zakon-nadsenci-si-ho-uz-vyskusali-v-praxi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4.w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rtitup.sk/vodic-na-slovensku-novinka-cestny-zakon/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hyperlink" Target="https://www.noviny.sk/slovensko/700919-cyklisti-prejdu-650-km-a-otestuju-zmeny-v-zakone-o-cestnej-premavke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hyperlink" Target="https://www.teraz.sk/slovensko/cyklisti-na-trase-napriec-slovenskom-pr/654167-clanok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hyperlink" Target="https://www.leviceonline.sk/spravy/sport/ostatne-sporty/6927-cyklisti-prejdu-v-ramci-kampane-continental-sharetheroad-650-km-a-otestuju-zmeny-v-zakone-o-cestnej-premavk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>
            <a:extLst>
              <a:ext uri="{FF2B5EF4-FFF2-40B4-BE49-F238E27FC236}">
                <a16:creationId xmlns:a16="http://schemas.microsoft.com/office/drawing/2014/main" id="{4947C142-0E10-C5BB-4846-4D39D0DFF0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023" b="21034"/>
          <a:stretch/>
        </p:blipFill>
        <p:spPr>
          <a:xfrm>
            <a:off x="177925" y="221807"/>
            <a:ext cx="8788150" cy="36863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13445" y="4125925"/>
            <a:ext cx="8409402" cy="556800"/>
          </a:xfrm>
        </p:spPr>
        <p:txBody>
          <a:bodyPr/>
          <a:lstStyle/>
          <a:p>
            <a:r>
              <a:rPr lang="en-US" b="1" i="0" u="none" strike="noStrike">
                <a:solidFill>
                  <a:srgbClr val="F39407"/>
                </a:solidFill>
                <a:effectLst/>
              </a:rPr>
              <a:t>REPORT KAMPANE #SHARE THE ROAD</a:t>
            </a:r>
            <a:endParaRPr lang="en-US">
              <a:solidFill>
                <a:srgbClr val="F39407"/>
              </a:solidFill>
              <a:effectLst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21948" y="4712664"/>
            <a:ext cx="8172140" cy="1123376"/>
          </a:xfrm>
        </p:spPr>
        <p:txBody>
          <a:bodyPr/>
          <a:lstStyle/>
          <a:p>
            <a:r>
              <a:rPr lang="en-US" sz="2400" b="1" err="1"/>
              <a:t>Partnerstvo</a:t>
            </a:r>
            <a:r>
              <a:rPr lang="en-US" sz="2400" b="1"/>
              <a:t> s </a:t>
            </a:r>
            <a:r>
              <a:rPr lang="en-US" sz="2400" b="1" err="1"/>
              <a:t>projektom</a:t>
            </a:r>
            <a:r>
              <a:rPr lang="en-US" sz="2400" b="1"/>
              <a:t> OSA </a:t>
            </a:r>
            <a:r>
              <a:rPr lang="en-US" sz="2400" b="1" err="1"/>
              <a:t>Naprieč</a:t>
            </a:r>
            <a:r>
              <a:rPr lang="en-US" sz="2400" b="1"/>
              <a:t> </a:t>
            </a:r>
            <a:r>
              <a:rPr lang="en-US" sz="2400" b="1" err="1"/>
              <a:t>Slovenskom</a:t>
            </a:r>
            <a:endParaRPr lang="cs-CZ" sz="2400" b="1"/>
          </a:p>
        </p:txBody>
      </p:sp>
      <p:pic>
        <p:nvPicPr>
          <p:cNvPr id="1028" name="Picture 4" descr="C:\Users\JC Media\Desktop\5860f8f04fc7f3474eb80dbc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3" y="5815750"/>
            <a:ext cx="2462555" cy="447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lokTextu 6">
            <a:extLst>
              <a:ext uri="{FF2B5EF4-FFF2-40B4-BE49-F238E27FC236}">
                <a16:creationId xmlns:a16="http://schemas.microsoft.com/office/drawing/2014/main" id="{50E35979-56A6-2398-33BA-81CF5997B8DD}"/>
              </a:ext>
            </a:extLst>
          </p:cNvPr>
          <p:cNvSpPr txBox="1"/>
          <p:nvPr/>
        </p:nvSpPr>
        <p:spPr>
          <a:xfrm>
            <a:off x="2172956" y="2965492"/>
            <a:ext cx="47076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7413465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Benzin.sk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Auto-moto online portál</a:t>
            </a: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0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2055" name="Picture 7" descr="benzin.sk">
            <a:extLst>
              <a:ext uri="{FF2B5EF4-FFF2-40B4-BE49-F238E27FC236}">
                <a16:creationId xmlns:a16="http://schemas.microsoft.com/office/drawing/2014/main" id="{7045D759-8D66-2A0A-823C-9AD22B158B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66" b="15571"/>
          <a:stretch/>
        </p:blipFill>
        <p:spPr bwMode="auto">
          <a:xfrm>
            <a:off x="4919098" y="1115200"/>
            <a:ext cx="3414651" cy="468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396873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Milliardcity.com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festylový online magazín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2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4098" name="Picture 2" descr="milliardcity.com">
            <a:extLst>
              <a:ext uri="{FF2B5EF4-FFF2-40B4-BE49-F238E27FC236}">
                <a16:creationId xmlns:a16="http://schemas.microsoft.com/office/drawing/2014/main" id="{6F39B6E8-EA5A-AE4F-C98C-F8D25DE1C3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365"/>
          <a:stretch/>
        </p:blipFill>
        <p:spPr bwMode="auto">
          <a:xfrm>
            <a:off x="3707904" y="956906"/>
            <a:ext cx="2949788" cy="384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milliardcity.com">
            <a:extLst>
              <a:ext uri="{FF2B5EF4-FFF2-40B4-BE49-F238E27FC236}">
                <a16:creationId xmlns:a16="http://schemas.microsoft.com/office/drawing/2014/main" id="{19672ECC-117D-307A-1187-BCD56F8C6E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99" b="39500"/>
          <a:stretch/>
        </p:blipFill>
        <p:spPr bwMode="auto">
          <a:xfrm>
            <a:off x="5896978" y="1562582"/>
            <a:ext cx="2889445" cy="424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604850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Kamdomesta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Kultúrny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informačn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webportál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85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6B0FF5E7-D285-F4B1-D0BF-6754C4D2F31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643" t="22001" r="20863" b="9414"/>
          <a:stretch/>
        </p:blipFill>
        <p:spPr>
          <a:xfrm>
            <a:off x="3716820" y="1254970"/>
            <a:ext cx="4851748" cy="4622302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C4E80252-1E91-1D6B-5466-8278B2E60E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1888" t="11821" r="15053" b="79217"/>
          <a:stretch/>
        </p:blipFill>
        <p:spPr>
          <a:xfrm>
            <a:off x="3716820" y="875409"/>
            <a:ext cx="4851748" cy="46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72303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rnavske.radio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Online portál regionálního rozhlasu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5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75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4A25BBE6-5278-2B5C-C704-C2DA6B9D28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1468123"/>
              </p:ext>
            </p:extLst>
          </p:nvPr>
        </p:nvGraphicFramePr>
        <p:xfrm>
          <a:off x="5076056" y="1069987"/>
          <a:ext cx="3126526" cy="4718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Bitmap Image" r:id="rId6" imgW="4617720" imgH="6949440" progId="PBrush">
                  <p:embed/>
                </p:oleObj>
              </mc:Choice>
              <mc:Fallback>
                <p:oleObj name="Bitmap Image" r:id="rId6" imgW="4617720" imgH="6949440" progId="PBrush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4A25BBE6-5278-2B5C-C704-C2DA6B9D2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076056" y="1069987"/>
                        <a:ext cx="3126526" cy="4718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212320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Rádio FM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Alternatívn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rozhlasov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tanic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RTVS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5 78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896D9F47-46C8-CD44-68D3-47213B2019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1437" y="2277116"/>
            <a:ext cx="5165497" cy="324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39434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142163" y="6224588"/>
            <a:ext cx="2001837" cy="150812"/>
          </a:xfrm>
        </p:spPr>
        <p:txBody>
          <a:bodyPr/>
          <a:lstStyle/>
          <a:p>
            <a:fld id="{9AAD38CA-A3BC-422B-91D8-D52719E4315A}" type="datetime5">
              <a:rPr lang="de-DE" smtClean="0">
                <a:solidFill>
                  <a:srgbClr val="000000"/>
                </a:solidFill>
              </a:rPr>
              <a:pPr/>
              <a:t>23-02-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783638" y="6375400"/>
            <a:ext cx="360362" cy="150813"/>
          </a:xfrm>
        </p:spPr>
        <p:txBody>
          <a:bodyPr/>
          <a:lstStyle/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15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7142163" y="6375400"/>
            <a:ext cx="2001837" cy="150813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Silke Gliemann  © Continental AG</a:t>
            </a:r>
          </a:p>
        </p:txBody>
      </p:sp>
      <p:sp>
        <p:nvSpPr>
          <p:cNvPr id="13" name="Titel 8"/>
          <p:cNvSpPr txBox="1">
            <a:spLocks/>
          </p:cNvSpPr>
          <p:nvPr/>
        </p:nvSpPr>
        <p:spPr>
          <a:xfrm>
            <a:off x="395536" y="3429943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 lnSpcReduction="10000"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2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ZDIEĽANIE STREAMOVANEJ DISKUSIE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7" name="Titel 8">
            <a:extLst>
              <a:ext uri="{FF2B5EF4-FFF2-40B4-BE49-F238E27FC236}">
                <a16:creationId xmlns:a16="http://schemas.microsoft.com/office/drawing/2014/main" id="{5AE6BF87-02BD-4785-965C-A7560A8507B3}"/>
              </a:ext>
            </a:extLst>
          </p:cNvPr>
          <p:cNvSpPr txBox="1">
            <a:spLocks/>
          </p:cNvSpPr>
          <p:nvPr/>
        </p:nvSpPr>
        <p:spPr>
          <a:xfrm>
            <a:off x="395536" y="3645495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2000" b="1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Levice, </a:t>
            </a:r>
            <a:r>
              <a:rPr lang="cs-CZ" sz="2000" b="1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17. </a:t>
            </a:r>
            <a:r>
              <a:rPr lang="cs-CZ" sz="2000" b="1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august 2022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9560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aceboo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Naprieč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lovenskom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Profil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odujat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Počet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videní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celkom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62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727D8077-D04C-B224-C308-86497CCF935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162" t="22413" r="25189" b="14601"/>
          <a:stretch/>
        </p:blipFill>
        <p:spPr>
          <a:xfrm>
            <a:off x="4302768" y="1132878"/>
            <a:ext cx="4258544" cy="435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302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81500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aceboo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Volant.tv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Auto-moto online portál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fans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5677</a:t>
            </a: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CF741D5-7F65-FA23-DB6D-0DCCD966D78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181225"/>
              </p:ext>
            </p:extLst>
          </p:nvPr>
        </p:nvGraphicFramePr>
        <p:xfrm>
          <a:off x="3707904" y="1844824"/>
          <a:ext cx="4781883" cy="37675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Bitmap Image" r:id="rId5" imgW="7543800" imgH="5943600" progId="PBrush">
                  <p:embed/>
                </p:oleObj>
              </mc:Choice>
              <mc:Fallback>
                <p:oleObj name="Bitmap Image" r:id="rId5" imgW="7543800" imgH="5943600" progId="PBrush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CF741D5-7F65-FA23-DB6D-0DCCD966D7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07904" y="1844824"/>
                        <a:ext cx="4781883" cy="37675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9871625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aceboo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Aktuality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Onln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fans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336 331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     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0F7026F9-E9D0-CE29-FC34-BE6D1F8212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063" t="20601" r="24012" b="20600"/>
          <a:stretch/>
        </p:blipFill>
        <p:spPr>
          <a:xfrm>
            <a:off x="4231759" y="1102075"/>
            <a:ext cx="4210626" cy="465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65680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aceboo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Aktualne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Profil bývalého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ého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u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aktuáln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      spravovaný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ortálom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Aktuality.sk 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fans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43 000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13" name="Obrázok 12">
            <a:extLst>
              <a:ext uri="{FF2B5EF4-FFF2-40B4-BE49-F238E27FC236}">
                <a16:creationId xmlns:a16="http://schemas.microsoft.com/office/drawing/2014/main" id="{5162FCB0-4C5E-44B3-E95D-DAB182590D1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819" t="30503" r="24468" b="17850"/>
          <a:stretch/>
        </p:blipFill>
        <p:spPr>
          <a:xfrm>
            <a:off x="4116986" y="1718466"/>
            <a:ext cx="4440171" cy="421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04820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67544" y="330471"/>
            <a:ext cx="8353425" cy="445135"/>
          </a:xfrm>
        </p:spPr>
        <p:txBody>
          <a:bodyPr>
            <a:normAutofit/>
          </a:bodyPr>
          <a:lstStyle/>
          <a:p>
            <a:r>
              <a:rPr lang="sk-SK"/>
              <a:t>SÚHRNNÝ PREHĽAD PR AKTIVÍT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63406-5C82-43FA-B963-AEA720ABB55B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8310207"/>
              </p:ext>
            </p:extLst>
          </p:nvPr>
        </p:nvGraphicFramePr>
        <p:xfrm>
          <a:off x="370120" y="1057034"/>
          <a:ext cx="8353425" cy="4752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5787709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aceboo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Leviceoline.sk</a:t>
            </a: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o-spoločen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regionálny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      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Page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 err="1">
                <a:solidFill>
                  <a:srgbClr val="000000"/>
                </a:solidFill>
                <a:cs typeface="Times New Roman" pitchFamily="18" charset="0"/>
              </a:rPr>
              <a:t>fans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8 634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BEEFEA21-DFC8-3ACF-937F-E41549311FC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4258331"/>
              </p:ext>
            </p:extLst>
          </p:nvPr>
        </p:nvGraphicFramePr>
        <p:xfrm>
          <a:off x="4171193" y="1005573"/>
          <a:ext cx="4397375" cy="4784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Bitmap Image" r:id="rId4" imgW="4396680" imgH="4785480" progId="PBrush">
                  <p:embed/>
                </p:oleObj>
              </mc:Choice>
              <mc:Fallback>
                <p:oleObj name="Bitmap Image" r:id="rId4" imgW="4396680" imgH="4785480" progId="PBrush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BEEFEA21-DFC8-3ACF-937F-E41549311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71193" y="1005573"/>
                        <a:ext cx="4397375" cy="4784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55910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142163" y="6224588"/>
            <a:ext cx="2001837" cy="150812"/>
          </a:xfrm>
        </p:spPr>
        <p:txBody>
          <a:bodyPr/>
          <a:lstStyle/>
          <a:p>
            <a:fld id="{9AAD38CA-A3BC-422B-91D8-D52719E4315A}" type="datetime5">
              <a:rPr lang="de-DE" smtClean="0">
                <a:solidFill>
                  <a:srgbClr val="000000"/>
                </a:solidFill>
              </a:rPr>
              <a:pPr/>
              <a:t>23-02-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783638" y="6375400"/>
            <a:ext cx="360362" cy="150813"/>
          </a:xfrm>
        </p:spPr>
        <p:txBody>
          <a:bodyPr/>
          <a:lstStyle/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21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7142163" y="6375400"/>
            <a:ext cx="2001837" cy="150813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Silke Gliemann  © Continental AG</a:t>
            </a:r>
          </a:p>
        </p:txBody>
      </p:sp>
      <p:sp>
        <p:nvSpPr>
          <p:cNvPr id="13" name="Titel 8"/>
          <p:cNvSpPr txBox="1">
            <a:spLocks/>
          </p:cNvSpPr>
          <p:nvPr/>
        </p:nvSpPr>
        <p:spPr>
          <a:xfrm>
            <a:off x="432007" y="2525638"/>
            <a:ext cx="11118142" cy="2225452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0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ZAPOJENIE REDAKTOROV CELOŠTÁTNYCH 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0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TELEVÍZIÍ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30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" name="Titel 8">
            <a:extLst>
              <a:ext uri="{FF2B5EF4-FFF2-40B4-BE49-F238E27FC236}">
                <a16:creationId xmlns:a16="http://schemas.microsoft.com/office/drawing/2014/main" id="{094818B3-D80A-A586-877D-4F88D6CBC5ED}"/>
              </a:ext>
            </a:extLst>
          </p:cNvPr>
          <p:cNvSpPr txBox="1">
            <a:spLocks/>
          </p:cNvSpPr>
          <p:nvPr/>
        </p:nvSpPr>
        <p:spPr>
          <a:xfrm>
            <a:off x="432007" y="4260726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 fontScale="85000" lnSpcReduction="20000"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2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redaktori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spravodajstva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najväčších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celoštátnych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televizíí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súčasťou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elotónu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1. etapy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503456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TV JOJ, Noviny o 19: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Komerčná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celoslovensk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Zapojen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: redaktor Richard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Juriš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33 52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38 7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28FC965D-A5E5-DFCF-100C-A5DF4B840F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6016" y="951351"/>
            <a:ext cx="4176747" cy="2349420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942F6BF1-77D8-B7C9-7766-4F69D08FD4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792" y="3428999"/>
            <a:ext cx="4176746" cy="2349419"/>
          </a:xfrm>
          <a:prstGeom prst="rect">
            <a:avLst/>
          </a:prstGeom>
        </p:spPr>
      </p:pic>
      <p:pic>
        <p:nvPicPr>
          <p:cNvPr id="12" name="Obrázok 11">
            <a:extLst>
              <a:ext uri="{FF2B5EF4-FFF2-40B4-BE49-F238E27FC236}">
                <a16:creationId xmlns:a16="http://schemas.microsoft.com/office/drawing/2014/main" id="{BC005C12-4B12-86DF-18C8-A8083316D6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6020" y="3428998"/>
            <a:ext cx="4176743" cy="2349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91840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3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Noviny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celoštátn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JOJ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67 08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51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1A7D62EB-E44B-D039-846B-C6CEAB7614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2342642"/>
              </p:ext>
            </p:extLst>
          </p:nvPr>
        </p:nvGraphicFramePr>
        <p:xfrm>
          <a:off x="4854682" y="1051507"/>
          <a:ext cx="3317718" cy="4754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Bitmap Image" r:id="rId5" imgW="4694040" imgH="6728400" progId="PBrush">
                  <p:embed/>
                </p:oleObj>
              </mc:Choice>
              <mc:Fallback>
                <p:oleObj name="Bitmap Image" r:id="rId5" imgW="4694040" imgH="6728400" progId="PBrush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1A7D62EB-E44B-D039-846B-C6CEAB761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854682" y="1051507"/>
                        <a:ext cx="3317718" cy="4754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401091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4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Markíza,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n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noviny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Komerčná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celoslovensk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Zapojený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Mare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Gudiak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337 5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44 09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A96ADA91-AF5B-FDB8-0CE5-82E015FFC5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265" y="912593"/>
            <a:ext cx="4139952" cy="2328724"/>
          </a:xfrm>
          <a:prstGeom prst="rect">
            <a:avLst/>
          </a:prstGeo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D459A4A3-07CC-4183-0168-6543D073C8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1504" y="3428142"/>
            <a:ext cx="4139952" cy="2328723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F6E67905-736B-953D-B827-7E9DE48F56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4820" y="3428142"/>
            <a:ext cx="4139951" cy="2328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884241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5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Markíza,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n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noviny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Komerčná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celoslovensk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Zapojený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Marek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Gudiak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337 5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949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15" name="Obrázok 14">
            <a:extLst>
              <a:ext uri="{FF2B5EF4-FFF2-40B4-BE49-F238E27FC236}">
                <a16:creationId xmlns:a16="http://schemas.microsoft.com/office/drawing/2014/main" id="{11993BC1-ADF6-F7C0-19E3-96D2EFA75C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7126" y="2564904"/>
            <a:ext cx="5364720" cy="301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048396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142163" y="6224588"/>
            <a:ext cx="2001837" cy="150812"/>
          </a:xfrm>
        </p:spPr>
        <p:txBody>
          <a:bodyPr/>
          <a:lstStyle/>
          <a:p>
            <a:fld id="{9AAD38CA-A3BC-422B-91D8-D52719E4315A}" type="datetime5">
              <a:rPr lang="de-DE" smtClean="0">
                <a:solidFill>
                  <a:srgbClr val="000000"/>
                </a:solidFill>
              </a:rPr>
              <a:pPr/>
              <a:t>23-02-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783638" y="6375400"/>
            <a:ext cx="360362" cy="150813"/>
          </a:xfrm>
        </p:spPr>
        <p:txBody>
          <a:bodyPr/>
          <a:lstStyle/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2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7142163" y="6375400"/>
            <a:ext cx="2001837" cy="150813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Silke Gliemann  © Continental AG</a:t>
            </a:r>
          </a:p>
        </p:txBody>
      </p:sp>
      <p:sp>
        <p:nvSpPr>
          <p:cNvPr id="13" name="Titel 8"/>
          <p:cNvSpPr txBox="1">
            <a:spLocks/>
          </p:cNvSpPr>
          <p:nvPr/>
        </p:nvSpPr>
        <p:spPr>
          <a:xfrm>
            <a:off x="432007" y="3376774"/>
            <a:ext cx="8279986" cy="2225452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0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ĎALŠIE MEDIÁLNE VÝSTUPY SO SILNOU VIZIBILITOU ZNAČKY CONTINENTAL ALEBO #SHARE THE ROAD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30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" name="Titel 8">
            <a:extLst>
              <a:ext uri="{FF2B5EF4-FFF2-40B4-BE49-F238E27FC236}">
                <a16:creationId xmlns:a16="http://schemas.microsoft.com/office/drawing/2014/main" id="{094818B3-D80A-A586-877D-4F88D6CBC5ED}"/>
              </a:ext>
            </a:extLst>
          </p:cNvPr>
          <p:cNvSpPr txBox="1">
            <a:spLocks/>
          </p:cNvSpPr>
          <p:nvPr/>
        </p:nvSpPr>
        <p:spPr>
          <a:xfrm>
            <a:off x="432007" y="4260726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0108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7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evick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Regionáln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N/A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6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5E0F4127-88EF-1624-8D88-A01475A1E8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63" t="12939" r="19751" b="8001"/>
          <a:stretch/>
        </p:blipFill>
        <p:spPr>
          <a:xfrm>
            <a:off x="3837208" y="907804"/>
            <a:ext cx="4766545" cy="2626319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A835C303-3C28-0382-99DF-55E80BE9149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5" t="13601" r="19288" b="8001"/>
          <a:stretch/>
        </p:blipFill>
        <p:spPr>
          <a:xfrm>
            <a:off x="683568" y="3284984"/>
            <a:ext cx="4572632" cy="253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601069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8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TA3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Raňajky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Reláci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úkromn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celoslovensk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e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Hosť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v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štúdiu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– Adrián Gazdí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85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43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12" name="Obrázok 11">
            <a:extLst>
              <a:ext uri="{FF2B5EF4-FFF2-40B4-BE49-F238E27FC236}">
                <a16:creationId xmlns:a16="http://schemas.microsoft.com/office/drawing/2014/main" id="{D63D954C-97AB-E1B1-B5BF-99BE128600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147" y="3339001"/>
            <a:ext cx="4517893" cy="2541315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5414D3C2-D90B-486A-DF9F-AF72F8CAF5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1848" y="927066"/>
            <a:ext cx="4336720" cy="243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740672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9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Ta3.com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Portál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celoslovensk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komerčn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e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71 42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00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0A16C6F2-A4EC-8688-FE69-2BE3B2A612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0145788"/>
              </p:ext>
            </p:extLst>
          </p:nvPr>
        </p:nvGraphicFramePr>
        <p:xfrm>
          <a:off x="3808995" y="1737512"/>
          <a:ext cx="4760156" cy="4193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Bitmap Image" r:id="rId4" imgW="7414200" imgH="6530400" progId="PBrush">
                  <p:embed/>
                </p:oleObj>
              </mc:Choice>
              <mc:Fallback>
                <p:oleObj name="Bitmap Image" r:id="rId4" imgW="7414200" imgH="6530400" progId="PBrush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0A16C6F2-A4EC-8688-FE69-2BE3B2A61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08995" y="1737512"/>
                        <a:ext cx="4760156" cy="4193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268606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142163" y="6224588"/>
            <a:ext cx="2001837" cy="150812"/>
          </a:xfrm>
        </p:spPr>
        <p:txBody>
          <a:bodyPr/>
          <a:lstStyle/>
          <a:p>
            <a:fld id="{9AAD38CA-A3BC-422B-91D8-D52719E4315A}" type="datetime5">
              <a:rPr lang="de-DE" smtClean="0">
                <a:solidFill>
                  <a:srgbClr val="000000"/>
                </a:solidFill>
              </a:rPr>
              <a:pPr/>
              <a:t>23-02-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783638" y="6375400"/>
            <a:ext cx="360362" cy="150813"/>
          </a:xfrm>
        </p:spPr>
        <p:txBody>
          <a:bodyPr/>
          <a:lstStyle/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7142163" y="6375400"/>
            <a:ext cx="2001837" cy="150813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Silke Gliemann  © Continental AG</a:t>
            </a:r>
          </a:p>
        </p:txBody>
      </p:sp>
      <p:sp>
        <p:nvSpPr>
          <p:cNvPr id="13" name="Titel 8"/>
          <p:cNvSpPr txBox="1">
            <a:spLocks/>
          </p:cNvSpPr>
          <p:nvPr/>
        </p:nvSpPr>
        <p:spPr>
          <a:xfrm>
            <a:off x="395536" y="3429943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 lnSpcReduction="10000"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2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TLAČOVÁ SPRÁVA</a:t>
            </a: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7" name="Titel 8">
            <a:extLst>
              <a:ext uri="{FF2B5EF4-FFF2-40B4-BE49-F238E27FC236}">
                <a16:creationId xmlns:a16="http://schemas.microsoft.com/office/drawing/2014/main" id="{5AE6BF87-02BD-4785-965C-A7560A8507B3}"/>
              </a:ext>
            </a:extLst>
          </p:cNvPr>
          <p:cNvSpPr txBox="1">
            <a:spLocks/>
          </p:cNvSpPr>
          <p:nvPr/>
        </p:nvSpPr>
        <p:spPr>
          <a:xfrm>
            <a:off x="437078" y="4283215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 fontScale="85000" lnSpcReduction="20000"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Cyklisti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rejdú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650 km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naprieč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Slovenskom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a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otestujú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zmeny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v zákone o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cestnej</a:t>
            </a:r>
            <a:r>
              <a:rPr lang="cs-CZ" sz="2000" b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cs-CZ" sz="2000" b="1" err="1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remávke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3333938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0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Biker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Online portál o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cyklistike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112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194" name="Picture 2" descr="biker.sk">
            <a:extLst>
              <a:ext uri="{FF2B5EF4-FFF2-40B4-BE49-F238E27FC236}">
                <a16:creationId xmlns:a16="http://schemas.microsoft.com/office/drawing/2014/main" id="{B3D22404-3894-99A7-FF65-D6A766E5BA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46" b="50000"/>
          <a:stretch/>
        </p:blipFill>
        <p:spPr bwMode="auto">
          <a:xfrm>
            <a:off x="5637571" y="1007398"/>
            <a:ext cx="2667734" cy="4840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5587809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1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376428" y="927066"/>
            <a:ext cx="8353425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Startitup.sk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Portál o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biznise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a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chnológiách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3"/>
              </a:rPr>
              <a:t>TU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370 46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 89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4371E4E4-D03F-C2F6-6793-632ADAD7C63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169"/>
          <a:stretch/>
        </p:blipFill>
        <p:spPr>
          <a:xfrm>
            <a:off x="4479309" y="1007398"/>
            <a:ext cx="3939744" cy="4849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92993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142163" y="6224588"/>
            <a:ext cx="2001837" cy="150812"/>
          </a:xfrm>
        </p:spPr>
        <p:txBody>
          <a:bodyPr/>
          <a:lstStyle/>
          <a:p>
            <a:fld id="{9AAD38CA-A3BC-422B-91D8-D52719E4315A}" type="datetime5">
              <a:rPr lang="de-DE" smtClean="0">
                <a:solidFill>
                  <a:srgbClr val="000000"/>
                </a:solidFill>
              </a:rPr>
              <a:pPr/>
              <a:t>23-02-1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8783638" y="6375400"/>
            <a:ext cx="360362" cy="150813"/>
          </a:xfrm>
        </p:spPr>
        <p:txBody>
          <a:bodyPr/>
          <a:lstStyle/>
          <a:p>
            <a:fld id="{ADA48181-2C78-49CB-8C52-912A07842C2E}" type="slidenum">
              <a:rPr lang="de-DE" smtClean="0">
                <a:solidFill>
                  <a:srgbClr val="000000"/>
                </a:solidFill>
              </a:rPr>
              <a:pPr/>
              <a:t>3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294967295"/>
          </p:nvPr>
        </p:nvSpPr>
        <p:spPr>
          <a:xfrm>
            <a:off x="7142163" y="6375400"/>
            <a:ext cx="2001837" cy="150813"/>
          </a:xfrm>
        </p:spPr>
        <p:txBody>
          <a:bodyPr/>
          <a:lstStyle/>
          <a:p>
            <a:r>
              <a:rPr lang="de-DE">
                <a:solidFill>
                  <a:srgbClr val="000000"/>
                </a:solidFill>
              </a:rPr>
              <a:t>Silke Gliemann  © Continental AG</a:t>
            </a:r>
          </a:p>
        </p:txBody>
      </p:sp>
      <p:sp>
        <p:nvSpPr>
          <p:cNvPr id="13" name="Titel 8"/>
          <p:cNvSpPr txBox="1">
            <a:spLocks/>
          </p:cNvSpPr>
          <p:nvPr/>
        </p:nvSpPr>
        <p:spPr>
          <a:xfrm>
            <a:off x="395536" y="345255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 lnSpcReduction="10000"/>
          </a:bodyPr>
          <a:lstStyle/>
          <a:p>
            <a:pPr>
              <a:lnSpc>
                <a:spcPct val="150000"/>
              </a:lnSpc>
              <a:buClr>
                <a:srgbClr val="FFC000"/>
              </a:buClr>
            </a:pPr>
            <a:r>
              <a:rPr lang="cs-CZ" sz="3200" b="1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VYHODNOTENIE</a:t>
            </a: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kumimoji="0" lang="de-DE" sz="2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602637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7"/>
          <p:cNvSpPr/>
          <p:nvPr/>
        </p:nvSpPr>
        <p:spPr>
          <a:xfrm>
            <a:off x="434792" y="1298350"/>
            <a:ext cx="8406717" cy="4738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cs-CZ" sz="1600" kern="0">
              <a:latin typeface="Arial (Text)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cs-CZ" b="1" kern="0">
              <a:solidFill>
                <a:srgbClr val="FFC000"/>
              </a:solidFill>
              <a:latin typeface="Arial (Text)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Ø"/>
            </a:pPr>
            <a:endParaRPr lang="cs-CZ" sz="1600" b="1" kern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3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Nadpis 2">
            <a:extLst>
              <a:ext uri="{FF2B5EF4-FFF2-40B4-BE49-F238E27FC236}">
                <a16:creationId xmlns:a16="http://schemas.microsoft.com/office/drawing/2014/main" id="{9830AD27-1807-73B3-02D8-919D65DB770E}"/>
              </a:ext>
            </a:extLst>
          </p:cNvPr>
          <p:cNvSpPr txBox="1">
            <a:spLocks/>
          </p:cNvSpPr>
          <p:nvPr/>
        </p:nvSpPr>
        <p:spPr>
          <a:xfrm>
            <a:off x="434792" y="460273"/>
            <a:ext cx="8353425" cy="338565"/>
          </a:xfrm>
          <a:prstGeom prst="rect">
            <a:avLst/>
          </a:prstGeom>
        </p:spPr>
        <p:txBody>
          <a:bodyPr vert="horz" lIns="0" tIns="0" rIns="91440" bIns="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sk-SK"/>
              <a:t>HIGHLIGHTY KAMPANE</a:t>
            </a: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D2234953-4F81-92F6-4607-1B6D81E1250A}"/>
              </a:ext>
            </a:extLst>
          </p:cNvPr>
          <p:cNvSpPr txBox="1"/>
          <p:nvPr/>
        </p:nvSpPr>
        <p:spPr>
          <a:xfrm>
            <a:off x="7884381" y="2852936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k-SK"/>
          </a:p>
        </p:txBody>
      </p:sp>
      <p:sp>
        <p:nvSpPr>
          <p:cNvPr id="12" name="Obdĺžnik 11">
            <a:extLst>
              <a:ext uri="{FF2B5EF4-FFF2-40B4-BE49-F238E27FC236}">
                <a16:creationId xmlns:a16="http://schemas.microsoft.com/office/drawing/2014/main" id="{6444F08D-2AF3-D529-B983-7122704BE4F9}"/>
              </a:ext>
            </a:extLst>
          </p:cNvPr>
          <p:cNvSpPr/>
          <p:nvPr/>
        </p:nvSpPr>
        <p:spPr>
          <a:xfrm>
            <a:off x="539552" y="2420888"/>
            <a:ext cx="2517541" cy="342789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Odkomunikovanie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myšlienky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#ShareTheRoad so silnou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vizibilitou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značky Continental v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hlavnom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vysielacom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čase 2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najsledovanejších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celoštátnych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televízií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.</a:t>
            </a:r>
          </a:p>
          <a:p>
            <a:pPr algn="ctr"/>
            <a:endParaRPr lang="sk-SK" sz="1600" b="1" err="1">
              <a:solidFill>
                <a:schemeClr val="bg1"/>
              </a:solidFill>
            </a:endParaRPr>
          </a:p>
        </p:txBody>
      </p:sp>
      <p:sp>
        <p:nvSpPr>
          <p:cNvPr id="23" name="Obdĺžnik 22">
            <a:extLst>
              <a:ext uri="{FF2B5EF4-FFF2-40B4-BE49-F238E27FC236}">
                <a16:creationId xmlns:a16="http://schemas.microsoft.com/office/drawing/2014/main" id="{543F685E-5999-4AFC-7AFB-AA637A92591C}"/>
              </a:ext>
            </a:extLst>
          </p:cNvPr>
          <p:cNvSpPr/>
          <p:nvPr/>
        </p:nvSpPr>
        <p:spPr>
          <a:xfrm>
            <a:off x="3371515" y="2420888"/>
            <a:ext cx="2517541" cy="3427898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Cross-posting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streamovanej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diskusie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jedným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z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najväčších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online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spravodajských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denníkov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Aktuality.sk.</a:t>
            </a:r>
          </a:p>
          <a:p>
            <a:pPr algn="ctr"/>
            <a:endParaRPr lang="sk-SK" sz="1600" b="1" err="1">
              <a:solidFill>
                <a:schemeClr val="bg1"/>
              </a:solidFill>
            </a:endParaRPr>
          </a:p>
        </p:txBody>
      </p:sp>
      <p:sp>
        <p:nvSpPr>
          <p:cNvPr id="25" name="Obdĺžnik 24">
            <a:extLst>
              <a:ext uri="{FF2B5EF4-FFF2-40B4-BE49-F238E27FC236}">
                <a16:creationId xmlns:a16="http://schemas.microsoft.com/office/drawing/2014/main" id="{1FABEE68-F189-74B9-4B9A-03BC81C49649}"/>
              </a:ext>
            </a:extLst>
          </p:cNvPr>
          <p:cNvSpPr/>
          <p:nvPr/>
        </p:nvSpPr>
        <p:spPr>
          <a:xfrm>
            <a:off x="6203478" y="2416754"/>
            <a:ext cx="2517541" cy="3432032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Účasť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organizátora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podujatia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v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relácii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TA3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Raňajky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so zabezpečením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silnej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vizibility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 značky </a:t>
            </a:r>
            <a:r>
              <a:rPr lang="cs-CZ" sz="1600" b="1" kern="0" err="1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Contnental</a:t>
            </a:r>
            <a:r>
              <a:rPr lang="cs-CZ" sz="1600" b="1" kern="0">
                <a:solidFill>
                  <a:schemeClr val="bg1"/>
                </a:solidFill>
                <a:latin typeface="Arial (Text)"/>
                <a:cs typeface="Times New Roman" pitchFamily="18" charset="0"/>
              </a:rPr>
              <a:t>.</a:t>
            </a:r>
          </a:p>
          <a:p>
            <a:pPr algn="ctr"/>
            <a:endParaRPr lang="sk-SK" sz="1600" b="1" err="1">
              <a:solidFill>
                <a:schemeClr val="bg1"/>
              </a:solidFill>
            </a:endParaRPr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FC6A537C-931E-2177-F965-6C41DBE2AE6C}"/>
              </a:ext>
            </a:extLst>
          </p:cNvPr>
          <p:cNvSpPr/>
          <p:nvPr/>
        </p:nvSpPr>
        <p:spPr>
          <a:xfrm>
            <a:off x="1402278" y="1379044"/>
            <a:ext cx="792088" cy="792088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sk-SK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Ovál 27">
            <a:extLst>
              <a:ext uri="{FF2B5EF4-FFF2-40B4-BE49-F238E27FC236}">
                <a16:creationId xmlns:a16="http://schemas.microsoft.com/office/drawing/2014/main" id="{A6DC5F14-1F3A-5697-62AC-2EC0256EB3DF}"/>
              </a:ext>
            </a:extLst>
          </p:cNvPr>
          <p:cNvSpPr/>
          <p:nvPr/>
        </p:nvSpPr>
        <p:spPr>
          <a:xfrm>
            <a:off x="7066204" y="1379044"/>
            <a:ext cx="792088" cy="792088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sk-SK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ál 29">
            <a:extLst>
              <a:ext uri="{FF2B5EF4-FFF2-40B4-BE49-F238E27FC236}">
                <a16:creationId xmlns:a16="http://schemas.microsoft.com/office/drawing/2014/main" id="{162FE105-6964-9DAD-4808-30E0F876AC4F}"/>
              </a:ext>
            </a:extLst>
          </p:cNvPr>
          <p:cNvSpPr/>
          <p:nvPr/>
        </p:nvSpPr>
        <p:spPr>
          <a:xfrm>
            <a:off x="4227532" y="1379044"/>
            <a:ext cx="792088" cy="792088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sk-SK" b="1">
                <a:solidFill>
                  <a:schemeClr val="bg1"/>
                </a:solidFill>
              </a:rPr>
              <a:t>2</a:t>
            </a:r>
            <a:endParaRPr lang="sk-SK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457088"/>
      </p:ext>
    </p:extLst>
  </p:cSld>
  <p:clrMapOvr>
    <a:masterClrMapping/>
  </p:clrMapOvr>
  <p:transition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17395608-6537-CD9D-397C-74D788D93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592" y="336133"/>
            <a:ext cx="8353425" cy="545984"/>
          </a:xfrm>
        </p:spPr>
        <p:txBody>
          <a:bodyPr/>
          <a:lstStyle/>
          <a:p>
            <a:r>
              <a:rPr lang="sk-SK"/>
              <a:t>VÝSLEDKY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BF65AD6D-DE8E-93FB-C116-D70AEB90B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57F077B1-50BB-2132-032E-B4B386303D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4</a:t>
            </a:fld>
            <a:endParaRPr lang="en-US" noProof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970AECD1-A1CE-7EFF-F457-78DB4F12A6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10" name="TextovéPole 102">
            <a:extLst>
              <a:ext uri="{FF2B5EF4-FFF2-40B4-BE49-F238E27FC236}">
                <a16:creationId xmlns:a16="http://schemas.microsoft.com/office/drawing/2014/main" id="{91343E49-0DF5-62DA-CDBE-C30F8E2AED11}"/>
              </a:ext>
            </a:extLst>
          </p:cNvPr>
          <p:cNvSpPr txBox="1"/>
          <p:nvPr/>
        </p:nvSpPr>
        <p:spPr>
          <a:xfrm>
            <a:off x="104451" y="1209880"/>
            <a:ext cx="40379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000" b="1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KATEGÓRIA</a:t>
            </a:r>
            <a:r>
              <a:rPr lang="sk-SK" b="1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sk-SK" sz="2000" b="1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VÝSTUPOV </a:t>
            </a:r>
            <a:endParaRPr lang="sk-SK" b="1" cap="all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9C3EAF56-2BE5-16EF-BA02-CFBEFB38A067}"/>
              </a:ext>
            </a:extLst>
          </p:cNvPr>
          <p:cNvGrpSpPr/>
          <p:nvPr/>
        </p:nvGrpSpPr>
        <p:grpSpPr>
          <a:xfrm>
            <a:off x="2284900" y="1916832"/>
            <a:ext cx="1287919" cy="1742085"/>
            <a:chOff x="528686" y="2880418"/>
            <a:chExt cx="1287919" cy="1742085"/>
          </a:xfrm>
        </p:grpSpPr>
        <p:sp>
          <p:nvSpPr>
            <p:cNvPr id="12" name="TextovéPole 50">
              <a:extLst>
                <a:ext uri="{FF2B5EF4-FFF2-40B4-BE49-F238E27FC236}">
                  <a16:creationId xmlns:a16="http://schemas.microsoft.com/office/drawing/2014/main" id="{447996C4-D521-B6FB-D309-00ED4FBFE470}"/>
                </a:ext>
              </a:extLst>
            </p:cNvPr>
            <p:cNvSpPr txBox="1"/>
            <p:nvPr/>
          </p:nvSpPr>
          <p:spPr>
            <a:xfrm>
              <a:off x="528686" y="3836370"/>
              <a:ext cx="1287919" cy="6001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sk-SK" sz="33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/>
                </a:rPr>
                <a:t>3</a:t>
              </a:r>
              <a:endParaRPr lang="sk-SK" sz="33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D3B257D9-317C-F28C-95A9-49843BF5CC56}"/>
                </a:ext>
              </a:extLst>
            </p:cNvPr>
            <p:cNvGrpSpPr/>
            <p:nvPr/>
          </p:nvGrpSpPr>
          <p:grpSpPr>
            <a:xfrm>
              <a:off x="719610" y="2880418"/>
              <a:ext cx="917874" cy="1742085"/>
              <a:chOff x="719610" y="2880418"/>
              <a:chExt cx="917874" cy="1742085"/>
            </a:xfrm>
          </p:grpSpPr>
          <p:sp>
            <p:nvSpPr>
              <p:cNvPr id="14" name="TextovéPole 103">
                <a:extLst>
                  <a:ext uri="{FF2B5EF4-FFF2-40B4-BE49-F238E27FC236}">
                    <a16:creationId xmlns:a16="http://schemas.microsoft.com/office/drawing/2014/main" id="{56DE2EE7-6511-89D8-A178-B471720C4696}"/>
                  </a:ext>
                </a:extLst>
              </p:cNvPr>
              <p:cNvSpPr txBox="1"/>
              <p:nvPr/>
            </p:nvSpPr>
            <p:spPr>
              <a:xfrm>
                <a:off x="767955" y="4408918"/>
                <a:ext cx="809380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k-SK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výstup</a:t>
                </a:r>
              </a:p>
            </p:txBody>
          </p:sp>
          <p:sp>
            <p:nvSpPr>
              <p:cNvPr id="16" name="Zaoblený obdélník 70">
                <a:extLst>
                  <a:ext uri="{FF2B5EF4-FFF2-40B4-BE49-F238E27FC236}">
                    <a16:creationId xmlns:a16="http://schemas.microsoft.com/office/drawing/2014/main" id="{FF3377E3-F57E-06BA-F795-8F80055A1061}"/>
                  </a:ext>
                </a:extLst>
              </p:cNvPr>
              <p:cNvSpPr/>
              <p:nvPr/>
            </p:nvSpPr>
            <p:spPr>
              <a:xfrm>
                <a:off x="719610" y="2880418"/>
                <a:ext cx="906071" cy="766180"/>
              </a:xfrm>
              <a:prstGeom prst="roundRect">
                <a:avLst>
                  <a:gd name="adj" fmla="val 16667"/>
                </a:avLst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1351"/>
              </a:p>
            </p:txBody>
          </p:sp>
          <p:sp>
            <p:nvSpPr>
              <p:cNvPr id="17" name="TextovéPole 68">
                <a:extLst>
                  <a:ext uri="{FF2B5EF4-FFF2-40B4-BE49-F238E27FC236}">
                    <a16:creationId xmlns:a16="http://schemas.microsoft.com/office/drawing/2014/main" id="{61FBFA53-D7B5-278F-449F-7094C0BD4747}"/>
                  </a:ext>
                </a:extLst>
              </p:cNvPr>
              <p:cNvSpPr txBox="1"/>
              <p:nvPr/>
            </p:nvSpPr>
            <p:spPr>
              <a:xfrm>
                <a:off x="734415" y="3376609"/>
                <a:ext cx="903069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Rozhlas</a:t>
                </a:r>
              </a:p>
            </p:txBody>
          </p:sp>
        </p:grpSp>
      </p:grp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65A4E5B7-5338-185A-A1BE-DD04D937E397}"/>
              </a:ext>
            </a:extLst>
          </p:cNvPr>
          <p:cNvGrpSpPr/>
          <p:nvPr/>
        </p:nvGrpSpPr>
        <p:grpSpPr>
          <a:xfrm>
            <a:off x="521969" y="3971436"/>
            <a:ext cx="1287919" cy="1742086"/>
            <a:chOff x="2202581" y="2880418"/>
            <a:chExt cx="1287919" cy="1742086"/>
          </a:xfrm>
        </p:grpSpPr>
        <p:sp>
          <p:nvSpPr>
            <p:cNvPr id="19" name="TextovéPole 90">
              <a:extLst>
                <a:ext uri="{FF2B5EF4-FFF2-40B4-BE49-F238E27FC236}">
                  <a16:creationId xmlns:a16="http://schemas.microsoft.com/office/drawing/2014/main" id="{6273576D-ED91-CA78-C9D2-F38D8FCEF0EB}"/>
                </a:ext>
              </a:extLst>
            </p:cNvPr>
            <p:cNvSpPr txBox="1"/>
            <p:nvPr/>
          </p:nvSpPr>
          <p:spPr>
            <a:xfrm>
              <a:off x="2202581" y="3789063"/>
              <a:ext cx="128791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k-SK" sz="33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rPr>
                <a:t>12</a:t>
              </a:r>
            </a:p>
          </p:txBody>
        </p:sp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6126CF0C-D420-120D-5F8E-2F019E09E910}"/>
                </a:ext>
              </a:extLst>
            </p:cNvPr>
            <p:cNvGrpSpPr/>
            <p:nvPr/>
          </p:nvGrpSpPr>
          <p:grpSpPr>
            <a:xfrm>
              <a:off x="2420131" y="2880418"/>
              <a:ext cx="906071" cy="1742086"/>
              <a:chOff x="2393505" y="2880417"/>
              <a:chExt cx="906071" cy="1742086"/>
            </a:xfrm>
          </p:grpSpPr>
          <p:sp>
            <p:nvSpPr>
              <p:cNvPr id="21" name="TextovéPole 79">
                <a:extLst>
                  <a:ext uri="{FF2B5EF4-FFF2-40B4-BE49-F238E27FC236}">
                    <a16:creationId xmlns:a16="http://schemas.microsoft.com/office/drawing/2014/main" id="{D971B8CB-A447-ABC3-5A07-CE261FD88174}"/>
                  </a:ext>
                </a:extLst>
              </p:cNvPr>
              <p:cNvSpPr txBox="1"/>
              <p:nvPr/>
            </p:nvSpPr>
            <p:spPr>
              <a:xfrm>
                <a:off x="2410280" y="3376609"/>
                <a:ext cx="872521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788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Online</a:t>
                </a:r>
                <a:endParaRPr lang="cs-CZ" sz="788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22" name="Zaoblený obdélník 81">
                <a:extLst>
                  <a:ext uri="{FF2B5EF4-FFF2-40B4-BE49-F238E27FC236}">
                    <a16:creationId xmlns:a16="http://schemas.microsoft.com/office/drawing/2014/main" id="{D66F6270-14B3-DA02-23F7-35C5588AED96}"/>
                  </a:ext>
                </a:extLst>
              </p:cNvPr>
              <p:cNvSpPr/>
              <p:nvPr/>
            </p:nvSpPr>
            <p:spPr>
              <a:xfrm>
                <a:off x="2393505" y="2880417"/>
                <a:ext cx="906071" cy="766180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1351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F111F7B8-0190-C012-6060-08D7634B2B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3882" y="3032949"/>
                <a:ext cx="505317" cy="284867"/>
              </a:xfrm>
              <a:custGeom>
                <a:avLst/>
                <a:gdLst>
                  <a:gd name="T0" fmla="*/ 528 w 636"/>
                  <a:gd name="T1" fmla="*/ 371 h 423"/>
                  <a:gd name="T2" fmla="*/ 584 w 636"/>
                  <a:gd name="T3" fmla="*/ 315 h 423"/>
                  <a:gd name="T4" fmla="*/ 584 w 636"/>
                  <a:gd name="T5" fmla="*/ 51 h 423"/>
                  <a:gd name="T6" fmla="*/ 528 w 636"/>
                  <a:gd name="T7" fmla="*/ 0 h 423"/>
                  <a:gd name="T8" fmla="*/ 107 w 636"/>
                  <a:gd name="T9" fmla="*/ 0 h 423"/>
                  <a:gd name="T10" fmla="*/ 51 w 636"/>
                  <a:gd name="T11" fmla="*/ 51 h 423"/>
                  <a:gd name="T12" fmla="*/ 51 w 636"/>
                  <a:gd name="T13" fmla="*/ 315 h 423"/>
                  <a:gd name="T14" fmla="*/ 107 w 636"/>
                  <a:gd name="T15" fmla="*/ 371 h 423"/>
                  <a:gd name="T16" fmla="*/ 0 w 636"/>
                  <a:gd name="T17" fmla="*/ 371 h 423"/>
                  <a:gd name="T18" fmla="*/ 0 w 636"/>
                  <a:gd name="T19" fmla="*/ 422 h 423"/>
                  <a:gd name="T20" fmla="*/ 635 w 636"/>
                  <a:gd name="T21" fmla="*/ 422 h 423"/>
                  <a:gd name="T22" fmla="*/ 635 w 636"/>
                  <a:gd name="T23" fmla="*/ 371 h 423"/>
                  <a:gd name="T24" fmla="*/ 528 w 636"/>
                  <a:gd name="T25" fmla="*/ 371 h 423"/>
                  <a:gd name="T26" fmla="*/ 107 w 636"/>
                  <a:gd name="T27" fmla="*/ 51 h 423"/>
                  <a:gd name="T28" fmla="*/ 528 w 636"/>
                  <a:gd name="T29" fmla="*/ 51 h 423"/>
                  <a:gd name="T30" fmla="*/ 528 w 636"/>
                  <a:gd name="T31" fmla="*/ 315 h 423"/>
                  <a:gd name="T32" fmla="*/ 107 w 636"/>
                  <a:gd name="T33" fmla="*/ 315 h 423"/>
                  <a:gd name="T34" fmla="*/ 107 w 636"/>
                  <a:gd name="T35" fmla="*/ 51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6" h="423">
                    <a:moveTo>
                      <a:pt x="528" y="371"/>
                    </a:moveTo>
                    <a:cubicBezTo>
                      <a:pt x="559" y="371"/>
                      <a:pt x="584" y="346"/>
                      <a:pt x="584" y="315"/>
                    </a:cubicBezTo>
                    <a:lnTo>
                      <a:pt x="584" y="51"/>
                    </a:lnTo>
                    <a:cubicBezTo>
                      <a:pt x="584" y="21"/>
                      <a:pt x="559" y="0"/>
                      <a:pt x="528" y="0"/>
                    </a:cubicBezTo>
                    <a:lnTo>
                      <a:pt x="107" y="0"/>
                    </a:lnTo>
                    <a:cubicBezTo>
                      <a:pt x="76" y="0"/>
                      <a:pt x="51" y="21"/>
                      <a:pt x="51" y="51"/>
                    </a:cubicBezTo>
                    <a:lnTo>
                      <a:pt x="51" y="315"/>
                    </a:lnTo>
                    <a:cubicBezTo>
                      <a:pt x="51" y="346"/>
                      <a:pt x="76" y="371"/>
                      <a:pt x="107" y="371"/>
                    </a:cubicBezTo>
                    <a:lnTo>
                      <a:pt x="0" y="371"/>
                    </a:lnTo>
                    <a:lnTo>
                      <a:pt x="0" y="422"/>
                    </a:lnTo>
                    <a:lnTo>
                      <a:pt x="635" y="422"/>
                    </a:lnTo>
                    <a:lnTo>
                      <a:pt x="635" y="371"/>
                    </a:lnTo>
                    <a:lnTo>
                      <a:pt x="528" y="371"/>
                    </a:lnTo>
                    <a:close/>
                    <a:moveTo>
                      <a:pt x="107" y="51"/>
                    </a:moveTo>
                    <a:lnTo>
                      <a:pt x="528" y="51"/>
                    </a:lnTo>
                    <a:lnTo>
                      <a:pt x="528" y="315"/>
                    </a:lnTo>
                    <a:lnTo>
                      <a:pt x="107" y="315"/>
                    </a:lnTo>
                    <a:lnTo>
                      <a:pt x="107" y="5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>
                <a:defPPr>
                  <a:defRPr lang="id-ID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5pPr>
                <a:lvl6pPr marL="22860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6pPr>
                <a:lvl7pPr marL="27432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7pPr>
                <a:lvl8pPr marL="32004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8pPr>
                <a:lvl9pPr marL="3657600" algn="l" defTabSz="457200" rtl="0" eaLnBrk="1" latinLnBrk="0" hangingPunct="1">
                  <a:defRPr kern="1200">
                    <a:solidFill>
                      <a:schemeClr val="tx1"/>
                    </a:solidFill>
                    <a:latin typeface="Roboto" charset="0"/>
                    <a:ea typeface="ＭＳ Ｐゴシック" charset="0"/>
                    <a:cs typeface="ＭＳ Ｐゴシック" charset="0"/>
                  </a:defRPr>
                </a:lvl9pPr>
              </a:lstStyle>
              <a:p>
                <a:endParaRPr lang="en-US" sz="1351"/>
              </a:p>
            </p:txBody>
          </p:sp>
          <p:sp>
            <p:nvSpPr>
              <p:cNvPr id="24" name="TextovéPole 83">
                <a:extLst>
                  <a:ext uri="{FF2B5EF4-FFF2-40B4-BE49-F238E27FC236}">
                    <a16:creationId xmlns:a16="http://schemas.microsoft.com/office/drawing/2014/main" id="{69D1281B-CE18-863F-3D65-4F63A10A08BF}"/>
                  </a:ext>
                </a:extLst>
              </p:cNvPr>
              <p:cNvSpPr txBox="1"/>
              <p:nvPr/>
            </p:nvSpPr>
            <p:spPr>
              <a:xfrm>
                <a:off x="2398602" y="4408918"/>
                <a:ext cx="895877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k-SK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výstupov</a:t>
                </a:r>
              </a:p>
            </p:txBody>
          </p:sp>
        </p:grp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803AE50D-0B01-917B-65A8-0EF78BC60A18}"/>
              </a:ext>
            </a:extLst>
          </p:cNvPr>
          <p:cNvGrpSpPr/>
          <p:nvPr/>
        </p:nvGrpSpPr>
        <p:grpSpPr>
          <a:xfrm>
            <a:off x="2254786" y="3955499"/>
            <a:ext cx="1287919" cy="1742086"/>
            <a:chOff x="3917924" y="2880417"/>
            <a:chExt cx="1287919" cy="1742086"/>
          </a:xfrm>
        </p:grpSpPr>
        <p:sp>
          <p:nvSpPr>
            <p:cNvPr id="26" name="TextovéPole 72">
              <a:extLst>
                <a:ext uri="{FF2B5EF4-FFF2-40B4-BE49-F238E27FC236}">
                  <a16:creationId xmlns:a16="http://schemas.microsoft.com/office/drawing/2014/main" id="{EF0EDC6A-526B-AF3B-77FC-24B70B0F9C85}"/>
                </a:ext>
              </a:extLst>
            </p:cNvPr>
            <p:cNvSpPr txBox="1"/>
            <p:nvPr/>
          </p:nvSpPr>
          <p:spPr>
            <a:xfrm>
              <a:off x="3917924" y="3753476"/>
              <a:ext cx="128791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k-SK" sz="33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rPr>
                <a:t>4</a:t>
              </a:r>
            </a:p>
          </p:txBody>
        </p:sp>
        <p:grpSp>
          <p:nvGrpSpPr>
            <p:cNvPr id="27" name="Skupina 26">
              <a:extLst>
                <a:ext uri="{FF2B5EF4-FFF2-40B4-BE49-F238E27FC236}">
                  <a16:creationId xmlns:a16="http://schemas.microsoft.com/office/drawing/2014/main" id="{62A42060-C323-12E5-FF87-4C664E14A1B7}"/>
                </a:ext>
              </a:extLst>
            </p:cNvPr>
            <p:cNvGrpSpPr/>
            <p:nvPr/>
          </p:nvGrpSpPr>
          <p:grpSpPr>
            <a:xfrm>
              <a:off x="4108848" y="2880417"/>
              <a:ext cx="941655" cy="1742086"/>
              <a:chOff x="4108848" y="2880417"/>
              <a:chExt cx="941655" cy="1742086"/>
            </a:xfrm>
          </p:grpSpPr>
          <p:pic>
            <p:nvPicPr>
              <p:cNvPr id="28" name="Picture 9" descr="VÃ½sledok vyhÄ¾adÃ¡vania obrÃ¡zkov pre dopyt social media piktogram">
                <a:extLst>
                  <a:ext uri="{FF2B5EF4-FFF2-40B4-BE49-F238E27FC236}">
                    <a16:creationId xmlns:a16="http://schemas.microsoft.com/office/drawing/2014/main" id="{498D0568-0C72-4340-173E-CB9911C9AE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707" t="5012" r="18579" b="76753"/>
              <a:stretch/>
            </p:blipFill>
            <p:spPr bwMode="auto">
              <a:xfrm>
                <a:off x="4220041" y="2923998"/>
                <a:ext cx="683684" cy="5147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Zaoblený obdélník 88">
                <a:extLst>
                  <a:ext uri="{FF2B5EF4-FFF2-40B4-BE49-F238E27FC236}">
                    <a16:creationId xmlns:a16="http://schemas.microsoft.com/office/drawing/2014/main" id="{47E7A3EE-46A2-4A88-17E6-3E512B3BA060}"/>
                  </a:ext>
                </a:extLst>
              </p:cNvPr>
              <p:cNvSpPr/>
              <p:nvPr/>
            </p:nvSpPr>
            <p:spPr>
              <a:xfrm>
                <a:off x="4108848" y="2880417"/>
                <a:ext cx="906070" cy="766180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1351"/>
              </a:p>
            </p:txBody>
          </p:sp>
          <p:sp>
            <p:nvSpPr>
              <p:cNvPr id="30" name="TextovéPole 89">
                <a:extLst>
                  <a:ext uri="{FF2B5EF4-FFF2-40B4-BE49-F238E27FC236}">
                    <a16:creationId xmlns:a16="http://schemas.microsoft.com/office/drawing/2014/main" id="{305B696C-EAF5-890F-851A-234AF5CD3181}"/>
                  </a:ext>
                </a:extLst>
              </p:cNvPr>
              <p:cNvSpPr txBox="1"/>
              <p:nvPr/>
            </p:nvSpPr>
            <p:spPr>
              <a:xfrm>
                <a:off x="4110349" y="3376099"/>
                <a:ext cx="903069" cy="2135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788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Sociálne</a:t>
                </a:r>
                <a:r>
                  <a:rPr lang="cs-CZ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cs-CZ" sz="788" err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siete</a:t>
                </a:r>
                <a:endParaRPr lang="cs-CZ" sz="788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ovéPole 87">
                <a:extLst>
                  <a:ext uri="{FF2B5EF4-FFF2-40B4-BE49-F238E27FC236}">
                    <a16:creationId xmlns:a16="http://schemas.microsoft.com/office/drawing/2014/main" id="{D999533C-0A9E-45D0-7F5D-3554B503A638}"/>
                  </a:ext>
                </a:extLst>
              </p:cNvPr>
              <p:cNvSpPr txBox="1"/>
              <p:nvPr/>
            </p:nvSpPr>
            <p:spPr>
              <a:xfrm>
                <a:off x="4146906" y="4408918"/>
                <a:ext cx="903597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k-SK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výstupy</a:t>
                </a:r>
              </a:p>
            </p:txBody>
          </p:sp>
        </p:grpSp>
      </p:grpSp>
      <p:grpSp>
        <p:nvGrpSpPr>
          <p:cNvPr id="39" name="Skupina 38">
            <a:extLst>
              <a:ext uri="{FF2B5EF4-FFF2-40B4-BE49-F238E27FC236}">
                <a16:creationId xmlns:a16="http://schemas.microsoft.com/office/drawing/2014/main" id="{F8686073-64FF-2BB0-1AAB-5C58A766C1C2}"/>
              </a:ext>
            </a:extLst>
          </p:cNvPr>
          <p:cNvGrpSpPr/>
          <p:nvPr/>
        </p:nvGrpSpPr>
        <p:grpSpPr>
          <a:xfrm>
            <a:off x="548594" y="1937753"/>
            <a:ext cx="1287919" cy="1732515"/>
            <a:chOff x="539452" y="2889988"/>
            <a:chExt cx="1287919" cy="1732515"/>
          </a:xfrm>
        </p:grpSpPr>
        <p:sp>
          <p:nvSpPr>
            <p:cNvPr id="40" name="TextovéPole 50">
              <a:extLst>
                <a:ext uri="{FF2B5EF4-FFF2-40B4-BE49-F238E27FC236}">
                  <a16:creationId xmlns:a16="http://schemas.microsoft.com/office/drawing/2014/main" id="{015CE617-BA51-7071-E359-DE230B6109EF}"/>
                </a:ext>
              </a:extLst>
            </p:cNvPr>
            <p:cNvSpPr txBox="1"/>
            <p:nvPr/>
          </p:nvSpPr>
          <p:spPr>
            <a:xfrm>
              <a:off x="539452" y="3822980"/>
              <a:ext cx="128791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k-SK" sz="33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Arial" panose="020B0604020202020204" pitchFamily="34" charset="0"/>
                </a:rPr>
                <a:t>5</a:t>
              </a:r>
            </a:p>
          </p:txBody>
        </p:sp>
        <p:grpSp>
          <p:nvGrpSpPr>
            <p:cNvPr id="41" name="Skupina 40">
              <a:extLst>
                <a:ext uri="{FF2B5EF4-FFF2-40B4-BE49-F238E27FC236}">
                  <a16:creationId xmlns:a16="http://schemas.microsoft.com/office/drawing/2014/main" id="{53B4FB64-E4E7-D08F-4A3E-54142A77691C}"/>
                </a:ext>
              </a:extLst>
            </p:cNvPr>
            <p:cNvGrpSpPr/>
            <p:nvPr/>
          </p:nvGrpSpPr>
          <p:grpSpPr>
            <a:xfrm>
              <a:off x="719610" y="2889988"/>
              <a:ext cx="917874" cy="1732515"/>
              <a:chOff x="719610" y="2889988"/>
              <a:chExt cx="917874" cy="1732515"/>
            </a:xfrm>
          </p:grpSpPr>
          <p:sp>
            <p:nvSpPr>
              <p:cNvPr id="42" name="TextovéPole 103">
                <a:extLst>
                  <a:ext uri="{FF2B5EF4-FFF2-40B4-BE49-F238E27FC236}">
                    <a16:creationId xmlns:a16="http://schemas.microsoft.com/office/drawing/2014/main" id="{A3606047-85BA-E29D-F237-247A7FC3E567}"/>
                  </a:ext>
                </a:extLst>
              </p:cNvPr>
              <p:cNvSpPr txBox="1"/>
              <p:nvPr/>
            </p:nvSpPr>
            <p:spPr>
              <a:xfrm>
                <a:off x="767955" y="4408918"/>
                <a:ext cx="809380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sk-SK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výstupov</a:t>
                </a:r>
              </a:p>
            </p:txBody>
          </p:sp>
          <p:sp>
            <p:nvSpPr>
              <p:cNvPr id="43" name="Freeform 31">
                <a:extLst>
                  <a:ext uri="{FF2B5EF4-FFF2-40B4-BE49-F238E27FC236}">
                    <a16:creationId xmlns:a16="http://schemas.microsoft.com/office/drawing/2014/main" id="{CCD8A26D-2FE1-76E7-D25C-D944181549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6545" y="3014407"/>
                <a:ext cx="418809" cy="321952"/>
              </a:xfrm>
              <a:custGeom>
                <a:avLst/>
                <a:gdLst>
                  <a:gd name="T0" fmla="*/ 477 w 534"/>
                  <a:gd name="T1" fmla="*/ 0 h 484"/>
                  <a:gd name="T2" fmla="*/ 50 w 534"/>
                  <a:gd name="T3" fmla="*/ 0 h 484"/>
                  <a:gd name="T4" fmla="*/ 0 w 534"/>
                  <a:gd name="T5" fmla="*/ 56 h 484"/>
                  <a:gd name="T6" fmla="*/ 0 w 534"/>
                  <a:gd name="T7" fmla="*/ 376 h 484"/>
                  <a:gd name="T8" fmla="*/ 50 w 534"/>
                  <a:gd name="T9" fmla="*/ 427 h 484"/>
                  <a:gd name="T10" fmla="*/ 157 w 534"/>
                  <a:gd name="T11" fmla="*/ 427 h 484"/>
                  <a:gd name="T12" fmla="*/ 157 w 534"/>
                  <a:gd name="T13" fmla="*/ 483 h 484"/>
                  <a:gd name="T14" fmla="*/ 370 w 534"/>
                  <a:gd name="T15" fmla="*/ 483 h 484"/>
                  <a:gd name="T16" fmla="*/ 370 w 534"/>
                  <a:gd name="T17" fmla="*/ 427 h 484"/>
                  <a:gd name="T18" fmla="*/ 477 w 534"/>
                  <a:gd name="T19" fmla="*/ 427 h 484"/>
                  <a:gd name="T20" fmla="*/ 533 w 534"/>
                  <a:gd name="T21" fmla="*/ 376 h 484"/>
                  <a:gd name="T22" fmla="*/ 533 w 534"/>
                  <a:gd name="T23" fmla="*/ 56 h 484"/>
                  <a:gd name="T24" fmla="*/ 477 w 534"/>
                  <a:gd name="T25" fmla="*/ 0 h 484"/>
                  <a:gd name="T26" fmla="*/ 477 w 534"/>
                  <a:gd name="T27" fmla="*/ 376 h 484"/>
                  <a:gd name="T28" fmla="*/ 50 w 534"/>
                  <a:gd name="T29" fmla="*/ 376 h 484"/>
                  <a:gd name="T30" fmla="*/ 50 w 534"/>
                  <a:gd name="T31" fmla="*/ 56 h 484"/>
                  <a:gd name="T32" fmla="*/ 477 w 534"/>
                  <a:gd name="T33" fmla="*/ 56 h 484"/>
                  <a:gd name="T34" fmla="*/ 477 w 534"/>
                  <a:gd name="T35" fmla="*/ 376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4" h="484">
                    <a:moveTo>
                      <a:pt x="477" y="0"/>
                    </a:moveTo>
                    <a:lnTo>
                      <a:pt x="50" y="0"/>
                    </a:lnTo>
                    <a:cubicBezTo>
                      <a:pt x="25" y="0"/>
                      <a:pt x="0" y="26"/>
                      <a:pt x="0" y="56"/>
                    </a:cubicBezTo>
                    <a:lnTo>
                      <a:pt x="0" y="376"/>
                    </a:lnTo>
                    <a:cubicBezTo>
                      <a:pt x="0" y="401"/>
                      <a:pt x="25" y="427"/>
                      <a:pt x="50" y="427"/>
                    </a:cubicBezTo>
                    <a:lnTo>
                      <a:pt x="157" y="427"/>
                    </a:lnTo>
                    <a:lnTo>
                      <a:pt x="157" y="483"/>
                    </a:lnTo>
                    <a:lnTo>
                      <a:pt x="370" y="483"/>
                    </a:lnTo>
                    <a:lnTo>
                      <a:pt x="370" y="427"/>
                    </a:lnTo>
                    <a:lnTo>
                      <a:pt x="477" y="427"/>
                    </a:lnTo>
                    <a:cubicBezTo>
                      <a:pt x="508" y="427"/>
                      <a:pt x="533" y="401"/>
                      <a:pt x="533" y="376"/>
                    </a:cubicBezTo>
                    <a:lnTo>
                      <a:pt x="533" y="56"/>
                    </a:lnTo>
                    <a:cubicBezTo>
                      <a:pt x="533" y="26"/>
                      <a:pt x="508" y="0"/>
                      <a:pt x="477" y="0"/>
                    </a:cubicBezTo>
                    <a:close/>
                    <a:moveTo>
                      <a:pt x="477" y="376"/>
                    </a:moveTo>
                    <a:lnTo>
                      <a:pt x="50" y="376"/>
                    </a:lnTo>
                    <a:lnTo>
                      <a:pt x="50" y="56"/>
                    </a:lnTo>
                    <a:lnTo>
                      <a:pt x="477" y="56"/>
                    </a:lnTo>
                    <a:lnTo>
                      <a:pt x="477" y="376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1351"/>
              </a:p>
            </p:txBody>
          </p:sp>
          <p:sp>
            <p:nvSpPr>
              <p:cNvPr id="44" name="Zaoblený obdélník 70">
                <a:extLst>
                  <a:ext uri="{FF2B5EF4-FFF2-40B4-BE49-F238E27FC236}">
                    <a16:creationId xmlns:a16="http://schemas.microsoft.com/office/drawing/2014/main" id="{85AED236-A3A0-6E32-C26E-C7A0221D67C0}"/>
                  </a:ext>
                </a:extLst>
              </p:cNvPr>
              <p:cNvSpPr/>
              <p:nvPr/>
            </p:nvSpPr>
            <p:spPr>
              <a:xfrm>
                <a:off x="719610" y="2889988"/>
                <a:ext cx="906071" cy="766180"/>
              </a:xfrm>
              <a:prstGeom prst="roundRect">
                <a:avLst>
                  <a:gd name="adj" fmla="val 16667"/>
                </a:avLst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1351"/>
              </a:p>
            </p:txBody>
          </p:sp>
          <p:sp>
            <p:nvSpPr>
              <p:cNvPr id="45" name="TextovéPole 68">
                <a:extLst>
                  <a:ext uri="{FF2B5EF4-FFF2-40B4-BE49-F238E27FC236}">
                    <a16:creationId xmlns:a16="http://schemas.microsoft.com/office/drawing/2014/main" id="{30CDEA18-F1C0-D61E-3290-BC753D4E3C6D}"/>
                  </a:ext>
                </a:extLst>
              </p:cNvPr>
              <p:cNvSpPr txBox="1"/>
              <p:nvPr/>
            </p:nvSpPr>
            <p:spPr>
              <a:xfrm>
                <a:off x="734415" y="3376609"/>
                <a:ext cx="903069" cy="2135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788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TV</a:t>
                </a:r>
              </a:p>
            </p:txBody>
          </p:sp>
        </p:grpSp>
      </p:grpSp>
      <p:pic>
        <p:nvPicPr>
          <p:cNvPr id="1026" name="Picture 2" descr="Radio Royalty Free Vector Image - VectorStock">
            <a:extLst>
              <a:ext uri="{FF2B5EF4-FFF2-40B4-BE49-F238E27FC236}">
                <a16:creationId xmlns:a16="http://schemas.microsoft.com/office/drawing/2014/main" id="{514D6FD8-70C6-1824-FCAA-FBE02E47EB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3" t="14656" r="16420" b="20481"/>
          <a:stretch/>
        </p:blipFill>
        <p:spPr bwMode="auto">
          <a:xfrm>
            <a:off x="2711027" y="1966731"/>
            <a:ext cx="462329" cy="457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Rovná spojnica 46">
            <a:extLst>
              <a:ext uri="{FF2B5EF4-FFF2-40B4-BE49-F238E27FC236}">
                <a16:creationId xmlns:a16="http://schemas.microsoft.com/office/drawing/2014/main" id="{23B71B6A-86CD-9412-7D75-E156A0705272}"/>
              </a:ext>
            </a:extLst>
          </p:cNvPr>
          <p:cNvCxnSpPr>
            <a:cxnSpLocks/>
          </p:cNvCxnSpPr>
          <p:nvPr/>
        </p:nvCxnSpPr>
        <p:spPr>
          <a:xfrm>
            <a:off x="3923928" y="1916507"/>
            <a:ext cx="0" cy="3888757"/>
          </a:xfrm>
          <a:prstGeom prst="line">
            <a:avLst/>
          </a:prstGeom>
          <a:ln w="952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120">
            <a:extLst>
              <a:ext uri="{FF2B5EF4-FFF2-40B4-BE49-F238E27FC236}">
                <a16:creationId xmlns:a16="http://schemas.microsoft.com/office/drawing/2014/main" id="{60C23BC5-4E2D-17B7-0FEB-F4DE79B7ECC4}"/>
              </a:ext>
            </a:extLst>
          </p:cNvPr>
          <p:cNvSpPr txBox="1"/>
          <p:nvPr/>
        </p:nvSpPr>
        <p:spPr>
          <a:xfrm>
            <a:off x="4283968" y="2639451"/>
            <a:ext cx="46299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>
                <a:solidFill>
                  <a:srgbClr val="FFC000"/>
                </a:solidFill>
                <a:latin typeface="+mj-lt"/>
                <a:ea typeface="Roboto" charset="0"/>
                <a:cs typeface="Roboto" charset="0"/>
              </a:rPr>
              <a:t>2 326 932 </a:t>
            </a:r>
            <a:r>
              <a:rPr lang="sk-SK" sz="1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Medium" charset="0"/>
                <a:cs typeface="Roboto Medium" charset="0"/>
              </a:rPr>
              <a:t>RECIPIENTOV</a:t>
            </a:r>
            <a:r>
              <a:rPr lang="sk-SK" sz="1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Medium" charset="0"/>
                <a:cs typeface="Roboto Medium" charset="0"/>
              </a:rPr>
              <a:t> MALO MOŽNOSŤ BYŤ ZASIAHNUTÝCH KAMPAŇOU V MÉDIÁCH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Roboto Thin" charset="0"/>
              <a:cs typeface="Roboto Thin" charset="0"/>
            </a:endParaRPr>
          </a:p>
        </p:txBody>
      </p: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14419AB8-E8FC-4FBE-0957-10C4434A6096}"/>
              </a:ext>
            </a:extLst>
          </p:cNvPr>
          <p:cNvGrpSpPr/>
          <p:nvPr/>
        </p:nvGrpSpPr>
        <p:grpSpPr>
          <a:xfrm>
            <a:off x="4290235" y="1879974"/>
            <a:ext cx="4389883" cy="803038"/>
            <a:chOff x="6934559" y="3160860"/>
            <a:chExt cx="4196883" cy="803038"/>
          </a:xfrm>
        </p:grpSpPr>
        <p:sp>
          <p:nvSpPr>
            <p:cNvPr id="50" name="TextovéPole 116">
              <a:extLst>
                <a:ext uri="{FF2B5EF4-FFF2-40B4-BE49-F238E27FC236}">
                  <a16:creationId xmlns:a16="http://schemas.microsoft.com/office/drawing/2014/main" id="{85DCD3F2-F509-BC6B-A5D3-792A5A48F610}"/>
                </a:ext>
              </a:extLst>
            </p:cNvPr>
            <p:cNvSpPr txBox="1"/>
            <p:nvPr/>
          </p:nvSpPr>
          <p:spPr>
            <a:xfrm>
              <a:off x="6934559" y="3160860"/>
              <a:ext cx="13125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k-SK" sz="2800" b="1">
                  <a:latin typeface="+mj-lt"/>
                  <a:cs typeface="Arial" panose="020B0604020202020204" pitchFamily="34" charset="0"/>
                </a:rPr>
                <a:t>92 %</a:t>
              </a:r>
              <a:endParaRPr lang="sk-SK" sz="2800">
                <a:latin typeface="+mj-lt"/>
              </a:endParaRPr>
            </a:p>
          </p:txBody>
        </p:sp>
        <p:sp>
          <p:nvSpPr>
            <p:cNvPr id="51" name="TextovéPole 120">
              <a:extLst>
                <a:ext uri="{FF2B5EF4-FFF2-40B4-BE49-F238E27FC236}">
                  <a16:creationId xmlns:a16="http://schemas.microsoft.com/office/drawing/2014/main" id="{538A029B-7C63-752F-5708-894B8757990C}"/>
                </a:ext>
              </a:extLst>
            </p:cNvPr>
            <p:cNvSpPr txBox="1"/>
            <p:nvPr/>
          </p:nvSpPr>
          <p:spPr>
            <a:xfrm>
              <a:off x="7968584" y="3196765"/>
              <a:ext cx="3162858" cy="767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sk-SK" sz="1400">
                  <a:latin typeface="+mj-lt"/>
                </a:rPr>
                <a:t>SLOVNÁ ZMIENKA ALEBO VIZIBILITA ZNAČKY VO VÝSTUPOCH</a:t>
              </a:r>
              <a:endParaRPr lang="sk-SK" sz="1400">
                <a:latin typeface="+mj-lt"/>
                <a:ea typeface="Calibri"/>
                <a:cs typeface="Times New Roman"/>
              </a:endParaRPr>
            </a:p>
          </p:txBody>
        </p:sp>
      </p:grpSp>
      <p:sp>
        <p:nvSpPr>
          <p:cNvPr id="53" name="BlokTextu 52">
            <a:extLst>
              <a:ext uri="{FF2B5EF4-FFF2-40B4-BE49-F238E27FC236}">
                <a16:creationId xmlns:a16="http://schemas.microsoft.com/office/drawing/2014/main" id="{44BE7DE2-D8F0-6355-B469-505B0B76A131}"/>
              </a:ext>
            </a:extLst>
          </p:cNvPr>
          <p:cNvSpPr txBox="1"/>
          <p:nvPr/>
        </p:nvSpPr>
        <p:spPr>
          <a:xfrm>
            <a:off x="4330405" y="4645330"/>
            <a:ext cx="4349712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k-SK" sz="2800" b="1">
                <a:solidFill>
                  <a:srgbClr val="FFC000"/>
                </a:solidFill>
                <a:latin typeface="+mj-lt"/>
                <a:ea typeface="Roboto Medium"/>
              </a:rPr>
              <a:t>106 520 € </a:t>
            </a:r>
            <a:r>
              <a:rPr lang="sk-SK" sz="1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Medium"/>
              </a:rPr>
              <a:t>HODNOTA KAMPANE VYPOČÍTANÁ NA ZÁKLADE CENY MEDIÁLNEHO PRIESTORU</a:t>
            </a:r>
          </a:p>
        </p:txBody>
      </p:sp>
      <p:sp>
        <p:nvSpPr>
          <p:cNvPr id="57" name="TextovéPole 120">
            <a:extLst>
              <a:ext uri="{FF2B5EF4-FFF2-40B4-BE49-F238E27FC236}">
                <a16:creationId xmlns:a16="http://schemas.microsoft.com/office/drawing/2014/main" id="{B893EF0F-77B4-DC06-87FC-C1A1132160F8}"/>
              </a:ext>
            </a:extLst>
          </p:cNvPr>
          <p:cNvSpPr txBox="1"/>
          <p:nvPr/>
        </p:nvSpPr>
        <p:spPr>
          <a:xfrm>
            <a:off x="4330404" y="3612489"/>
            <a:ext cx="44760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>
                <a:solidFill>
                  <a:srgbClr val="FFC000"/>
                </a:solidFill>
                <a:latin typeface="+mj-lt"/>
                <a:ea typeface="Roboto" charset="0"/>
                <a:cs typeface="Roboto" charset="0"/>
              </a:rPr>
              <a:t>6 200</a:t>
            </a:r>
            <a:r>
              <a:rPr lang="sk-SK" sz="2400" b="1">
                <a:solidFill>
                  <a:srgbClr val="FFC000"/>
                </a:solidFill>
                <a:latin typeface="+mj-lt"/>
                <a:ea typeface="Roboto" charset="0"/>
                <a:cs typeface="Roboto" charset="0"/>
              </a:rPr>
              <a:t> </a:t>
            </a:r>
            <a:r>
              <a:rPr lang="sk-SK" sz="14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Medium" charset="0"/>
                <a:cs typeface="Roboto" charset="0"/>
              </a:rPr>
              <a:t>UŽÍVATEĽOV </a:t>
            </a:r>
            <a:r>
              <a:rPr lang="sk-SK" sz="1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Roboto Medium" charset="0"/>
                <a:cs typeface="Roboto" charset="0"/>
              </a:rPr>
              <a:t>VIDELO STREAMOVANÚ DISKUSIU NA FACEBOOKU</a:t>
            </a:r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Roboto Thin" charset="0"/>
              <a:cs typeface="Roboto Thi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79184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Noviny.sk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celoštátnej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elevízie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67 08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51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FFC000"/>
              </a:buClr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7170" name="Picture 2" descr="noviny.sk">
            <a:extLst>
              <a:ext uri="{FF2B5EF4-FFF2-40B4-BE49-F238E27FC236}">
                <a16:creationId xmlns:a16="http://schemas.microsoft.com/office/drawing/2014/main" id="{9FE07205-9AB8-2D23-4A48-0E11FBB31A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857"/>
          <a:stretch/>
        </p:blipFill>
        <p:spPr bwMode="auto">
          <a:xfrm>
            <a:off x="6147068" y="1077848"/>
            <a:ext cx="2381941" cy="4839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290380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TASR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Tlačová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agentúra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SR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8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5CA805E6-312F-072C-3049-D6012B23BA5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37" t="20601" r="1175" b="10801"/>
          <a:stretch/>
        </p:blipFill>
        <p:spPr>
          <a:xfrm>
            <a:off x="4082742" y="1132878"/>
            <a:ext cx="4535486" cy="4535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09464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Teraz.sk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 TASR</a:t>
            </a: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3 16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95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3074" name="Picture 2" descr="teraz.sk">
            <a:extLst>
              <a:ext uri="{FF2B5EF4-FFF2-40B4-BE49-F238E27FC236}">
                <a16:creationId xmlns:a16="http://schemas.microsoft.com/office/drawing/2014/main" id="{68CDC60B-C76B-1A38-8AD1-6DAF3E229B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71"/>
          <a:stretch/>
        </p:blipFill>
        <p:spPr bwMode="auto">
          <a:xfrm>
            <a:off x="5242663" y="1099645"/>
            <a:ext cx="3096344" cy="4800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207319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FUN Rádio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Celoslovenská rozhlasová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tanica</a:t>
            </a: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450 0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270 €</a:t>
            </a: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49D8BC09-B8F8-0961-52C0-40A6F0E268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836" t="28376" r="1640" b="28224"/>
          <a:stretch/>
        </p:blipFill>
        <p:spPr>
          <a:xfrm>
            <a:off x="4000532" y="1213210"/>
            <a:ext cx="4591378" cy="290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80374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/>
              </a:rPr>
              <a:t>RTVS Góly - body – sekundy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/>
              </a:rPr>
              <a:t>Celoslovenská </a:t>
            </a:r>
            <a:r>
              <a:rPr lang="cs-CZ" sz="1400" kern="0" err="1">
                <a:solidFill>
                  <a:srgbClr val="000000"/>
                </a:solidFill>
                <a:cs typeface="Times New Roman"/>
              </a:rPr>
              <a:t>televízna</a:t>
            </a:r>
            <a:r>
              <a:rPr lang="cs-CZ" sz="1400" kern="0">
                <a:solidFill>
                  <a:srgbClr val="000000"/>
                </a:solidFill>
                <a:cs typeface="Times New Roman"/>
              </a:rPr>
              <a:t> </a:t>
            </a:r>
            <a:r>
              <a:rPr lang="cs-CZ" sz="1400" kern="0" err="1">
                <a:solidFill>
                  <a:srgbClr val="000000"/>
                </a:solidFill>
                <a:cs typeface="Times New Roman"/>
              </a:rPr>
              <a:t>stanica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/>
              </a:rPr>
              <a:t>131 82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/>
              </a:rPr>
              <a:t>480 €</a:t>
            </a:r>
          </a:p>
          <a:p>
            <a:pPr>
              <a:buNone/>
            </a:pPr>
            <a:endParaRPr lang="cs-CZ" sz="1400" b="1"/>
          </a:p>
          <a:p>
            <a:pPr marL="17145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145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15" name="Obrázok 15">
            <a:extLst>
              <a:ext uri="{FF2B5EF4-FFF2-40B4-BE49-F238E27FC236}">
                <a16:creationId xmlns:a16="http://schemas.microsoft.com/office/drawing/2014/main" id="{94CDD685-EAA0-CDDA-1B3F-E06CB5456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7215" y="1898678"/>
            <a:ext cx="5621866" cy="2975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75392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Zástupný symbol pro obsah 11" descr="10.10.2016_Auto.pravda.sk_ContiGarant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33463" y="1341438"/>
            <a:ext cx="2077075" cy="4535487"/>
          </a:xfrm>
        </p:spPr>
      </p:pic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34792" y="460273"/>
            <a:ext cx="8353425" cy="338565"/>
          </a:xfrm>
        </p:spPr>
        <p:txBody>
          <a:bodyPr>
            <a:normAutofit fontScale="90000"/>
          </a:bodyPr>
          <a:lstStyle/>
          <a:p>
            <a:r>
              <a:rPr lang="sk-SK"/>
              <a:t>MEDIÁLNE VÝSTUPY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6337072" y="6247287"/>
            <a:ext cx="2001935" cy="150440"/>
          </a:xfrm>
        </p:spPr>
        <p:txBody>
          <a:bodyPr/>
          <a:lstStyle/>
          <a:p>
            <a:fld id="{882E1F4D-A9D9-48EB-9FB5-E965AFFC59F4}" type="datetime3">
              <a:rPr lang="en-US" noProof="0" smtClean="0"/>
              <a:pPr/>
              <a:t>16 February 2023</a:t>
            </a:fld>
            <a:endParaRPr lang="en-US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Author, © Continental AG</a:t>
            </a:r>
          </a:p>
        </p:txBody>
      </p:sp>
      <p:sp>
        <p:nvSpPr>
          <p:cNvPr id="7" name="Rechteck 17"/>
          <p:cNvSpPr/>
          <p:nvPr/>
        </p:nvSpPr>
        <p:spPr>
          <a:xfrm>
            <a:off x="414829" y="927066"/>
            <a:ext cx="8406717" cy="51116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eviceonline.sk</a:t>
            </a: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Spravodajsko-spoločenský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kern="0" err="1">
                <a:solidFill>
                  <a:srgbClr val="000000"/>
                </a:solidFill>
                <a:cs typeface="Times New Roman" pitchFamily="18" charset="0"/>
              </a:rPr>
              <a:t>regionálny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 portál</a:t>
            </a:r>
          </a:p>
          <a:p>
            <a:pPr indent="266700">
              <a:lnSpc>
                <a:spcPct val="150000"/>
              </a:lnSpc>
              <a:buClr>
                <a:srgbClr val="FFC000"/>
              </a:buClr>
              <a:buFont typeface="Wingdings" pitchFamily="2" charset="2"/>
              <a:buChar char="§"/>
            </a:pP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Link: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  <a:hlinkClick r:id="rId4"/>
              </a:rPr>
              <a:t>TU</a:t>
            </a:r>
            <a:endParaRPr lang="cs-CZ" sz="12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b="1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RU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000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cs-CZ" sz="1400" b="1" kern="0">
                <a:solidFill>
                  <a:srgbClr val="000000"/>
                </a:solidFill>
                <a:cs typeface="Times New Roman" pitchFamily="18" charset="0"/>
              </a:rPr>
              <a:t>AVE: </a:t>
            </a:r>
            <a:r>
              <a:rPr lang="cs-CZ" sz="1400" kern="0">
                <a:solidFill>
                  <a:srgbClr val="000000"/>
                </a:solidFill>
                <a:cs typeface="Times New Roman" pitchFamily="18" charset="0"/>
              </a:rPr>
              <a:t>180 €</a:t>
            </a: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Clr>
                <a:srgbClr val="FFC000"/>
              </a:buClr>
              <a:buFont typeface="Arial" panose="020B0604020202020204" pitchFamily="34" charset="0"/>
              <a:buChar char="•"/>
            </a:pPr>
            <a:endParaRPr lang="cs-CZ" sz="1400" kern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buNone/>
            </a:pPr>
            <a:endParaRPr lang="cs-CZ" sz="1400" b="1"/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  <a:p>
            <a:pPr marL="17494" defTabSz="839694" fontAlgn="base">
              <a:lnSpc>
                <a:spcPct val="150000"/>
              </a:lnSpc>
              <a:spcBef>
                <a:spcPct val="0"/>
              </a:spcBef>
              <a:buClr>
                <a:srgbClr val="E19900"/>
              </a:buClr>
              <a:defRPr/>
            </a:pPr>
            <a:endParaRPr lang="cs-CZ" sz="1600" kern="0">
              <a:solidFill>
                <a:srgbClr val="000000"/>
              </a:solidFill>
              <a:cs typeface="Times New Roman" pitchFamily="18" charset="0"/>
            </a:endParaRPr>
          </a:p>
        </p:txBody>
      </p:sp>
      <p:pic>
        <p:nvPicPr>
          <p:cNvPr id="5122" name="Picture 2" descr="leviceonline.sk">
            <a:extLst>
              <a:ext uri="{FF2B5EF4-FFF2-40B4-BE49-F238E27FC236}">
                <a16:creationId xmlns:a16="http://schemas.microsoft.com/office/drawing/2014/main" id="{ADA83EFA-2BB7-8006-2374-28CDAD672E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09" b="63533"/>
          <a:stretch/>
        </p:blipFill>
        <p:spPr bwMode="auto">
          <a:xfrm>
            <a:off x="5625412" y="971963"/>
            <a:ext cx="2699990" cy="4991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544029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4453"/>
  <p:tag name="MIO_UPDATE" val="True"/>
  <p:tag name="MIO_VERSION" val="17.07.2013 14:02:37"/>
  <p:tag name="MIO_DBID" val="ED9FF2F2-6643-46BA-B685-7D49126FFA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36836e8-ce98-4707-a22d-27c58bdb4dfa" xsi:nil="true"/>
    <lcf76f155ced4ddcb4097134ff3c332f xmlns="5e5e78f9-2d06-44a3-ade1-e66d8cb192c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171C9273E40894BB1A37ECFC89AFF1C" ma:contentTypeVersion="15" ma:contentTypeDescription="Umožňuje vytvoriť nový dokument." ma:contentTypeScope="" ma:versionID="ca954089c5cefbdc071b689d97e92297">
  <xsd:schema xmlns:xsd="http://www.w3.org/2001/XMLSchema" xmlns:xs="http://www.w3.org/2001/XMLSchema" xmlns:p="http://schemas.microsoft.com/office/2006/metadata/properties" xmlns:ns2="5e5e78f9-2d06-44a3-ade1-e66d8cb192c6" xmlns:ns3="736836e8-ce98-4707-a22d-27c58bdb4dfa" targetNamespace="http://schemas.microsoft.com/office/2006/metadata/properties" ma:root="true" ma:fieldsID="da0c9ef320c265bc36a891a5343725b7" ns2:_="" ns3:_="">
    <xsd:import namespace="5e5e78f9-2d06-44a3-ade1-e66d8cb192c6"/>
    <xsd:import namespace="736836e8-ce98-4707-a22d-27c58bdb4d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5e78f9-2d06-44a3-ade1-e66d8cb192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Značky obrázka" ma:readOnly="false" ma:fieldId="{5cf76f15-5ced-4ddc-b409-7134ff3c332f}" ma:taxonomyMulti="true" ma:sspId="e24df547-3b63-494c-8c8a-3b102fd17a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6836e8-ce98-4707-a22d-27c58bdb4df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e212665-15e4-47e7-8283-f4b99cb0f143}" ma:internalName="TaxCatchAll" ma:showField="CatchAllData" ma:web="736836e8-ce98-4707-a22d-27c58bdb4d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1D1F46-B2F1-45FC-86FD-DE6D93F73FB3}">
  <ds:schemaRefs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dcmitype/"/>
    <ds:schemaRef ds:uri="736836e8-ce98-4707-a22d-27c58bdb4dfa"/>
    <ds:schemaRef ds:uri="http://schemas.microsoft.com/office/2006/metadata/properties"/>
    <ds:schemaRef ds:uri="5e5e78f9-2d06-44a3-ade1-e66d8cb192c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CF599A3-7DCD-4428-B701-47C3343FA36A}">
  <ds:schemaRefs>
    <ds:schemaRef ds:uri="5e5e78f9-2d06-44a3-ade1-e66d8cb192c6"/>
    <ds:schemaRef ds:uri="736836e8-ce98-4707-a22d-27c58bdb4d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46FC395-06D7-4F96-A91A-7E30A5F3E6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6</Words>
  <Application>Microsoft Office PowerPoint</Application>
  <PresentationFormat>Prezentácia na obrazovke (4:3)</PresentationFormat>
  <Paragraphs>434</Paragraphs>
  <Slides>34</Slides>
  <Notes>33</Notes>
  <HiddenSlides>0</HiddenSlides>
  <MMClips>0</MMClips>
  <ScaleCrop>false</ScaleCrop>
  <HeadingPairs>
    <vt:vector size="8" baseType="variant">
      <vt:variant>
        <vt:lpstr>Použité písma</vt:lpstr>
      </vt:variant>
      <vt:variant>
        <vt:i4>9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34</vt:i4>
      </vt:variant>
    </vt:vector>
  </HeadingPairs>
  <TitlesOfParts>
    <vt:vector size="45" baseType="lpstr">
      <vt:lpstr>ＭＳ Ｐゴシック</vt:lpstr>
      <vt:lpstr>Arial</vt:lpstr>
      <vt:lpstr>Arial (Text)</vt:lpstr>
      <vt:lpstr>Calibri</vt:lpstr>
      <vt:lpstr>Roboto</vt:lpstr>
      <vt:lpstr>Roboto Medium</vt:lpstr>
      <vt:lpstr>Roboto Thin</vt:lpstr>
      <vt:lpstr>Times New Roman</vt:lpstr>
      <vt:lpstr>Wingdings</vt:lpstr>
      <vt:lpstr>Continental AG, 4x3</vt:lpstr>
      <vt:lpstr>Bitmap Image</vt:lpstr>
      <vt:lpstr>REPORT KAMPANE #SHARE THE ROAD</vt:lpstr>
      <vt:lpstr>SÚHRNNÝ PREHĽAD PR AKTIVÍT</vt:lpstr>
      <vt:lpstr>Prezentácia programu PowerPoint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MEDIÁLNE VÝSTUPY</vt:lpstr>
      <vt:lpstr>Prezentácia programu PowerPoint</vt:lpstr>
      <vt:lpstr>MEDIÁLNE VÝSTUPY</vt:lpstr>
      <vt:lpstr>MEDIÁLNE VÝSTUPY</vt:lpstr>
      <vt:lpstr>MEDIÁLNE VÝSTUPY</vt:lpstr>
      <vt:lpstr>MEDIÁLNE VÝSTUPY</vt:lpstr>
      <vt:lpstr>MEDIÁLNE VÝSTUPY</vt:lpstr>
      <vt:lpstr>Prezentácia programu PowerPoint</vt:lpstr>
      <vt:lpstr>MEDIÁLNE VÝSTUPY</vt:lpstr>
      <vt:lpstr>MEDIÁLNE VÝSTUPY</vt:lpstr>
      <vt:lpstr>MEDIÁLNE VÝSTUPY</vt:lpstr>
      <vt:lpstr>MEDIÁLNE VÝSTUPY</vt:lpstr>
      <vt:lpstr>Prezentácia programu PowerPoint</vt:lpstr>
      <vt:lpstr>MEDIÁLNE VÝSTUPY</vt:lpstr>
      <vt:lpstr>MEDIÁLNE VÝSTUPY</vt:lpstr>
      <vt:lpstr>MEDIÁLNE VÝSTUPY</vt:lpstr>
      <vt:lpstr>MEDIÁLNE VÝSTUPY</vt:lpstr>
      <vt:lpstr>MEDIÁLNE VÝSTUPY</vt:lpstr>
      <vt:lpstr>Prezentácia programu PowerPoint</vt:lpstr>
      <vt:lpstr>Prezentácia programu PowerPoint</vt:lpstr>
      <vt:lpstr>VÝSLEDKY</vt:lpstr>
    </vt:vector>
  </TitlesOfParts>
  <Company>Continental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ilke Gliemann</dc:creator>
  <cp:lastModifiedBy>Tomáš Gelinger</cp:lastModifiedBy>
  <cp:revision>2</cp:revision>
  <dcterms:created xsi:type="dcterms:W3CDTF">2013-07-17T12:02:37Z</dcterms:created>
  <dcterms:modified xsi:type="dcterms:W3CDTF">2023-02-16T14:4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71C9273E40894BB1A37ECFC89AFF1C</vt:lpwstr>
  </property>
  <property fmtid="{D5CDD505-2E9C-101B-9397-08002B2CF9AE}" pid="3" name="MediaServiceImageTags">
    <vt:lpwstr/>
  </property>
</Properties>
</file>